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mp3" ContentType="audio/mpeg"/>
  <Default Extension="png" ContentType="image/png"/>
  <Default Extension="rels" ContentType="application/vnd.openxmlformats-package.relationships+xml"/>
  <Default Extension="svg" ContentType="image/svg+xml"/>
  <Default Extension="wav" ContentType="audio/x-wav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84" r:id="rId1"/>
    <p:sldMasterId id="2147483792" r:id="rId2"/>
    <p:sldMasterId id="2147483804" r:id="rId3"/>
    <p:sldMasterId id="2147483816" r:id="rId4"/>
  </p:sldMasterIdLst>
  <p:notesMasterIdLst>
    <p:notesMasterId r:id="rId66"/>
  </p:notesMasterIdLst>
  <p:sldIdLst>
    <p:sldId id="2134808265" r:id="rId5"/>
    <p:sldId id="2134808281" r:id="rId6"/>
    <p:sldId id="2134808266" r:id="rId7"/>
    <p:sldId id="2134808267" r:id="rId8"/>
    <p:sldId id="2134808443" r:id="rId9"/>
    <p:sldId id="2134808284" r:id="rId10"/>
    <p:sldId id="2134808438" r:id="rId11"/>
    <p:sldId id="2134808268" r:id="rId12"/>
    <p:sldId id="2134806282" r:id="rId13"/>
    <p:sldId id="2134808270" r:id="rId14"/>
    <p:sldId id="2134808271" r:id="rId15"/>
    <p:sldId id="2147482341" r:id="rId16"/>
    <p:sldId id="2134808273" r:id="rId17"/>
    <p:sldId id="2134808278" r:id="rId18"/>
    <p:sldId id="2147482342" r:id="rId19"/>
    <p:sldId id="2134808870" r:id="rId20"/>
    <p:sldId id="2134808951" r:id="rId21"/>
    <p:sldId id="2134808846" r:id="rId22"/>
    <p:sldId id="2134808852" r:id="rId23"/>
    <p:sldId id="2134808851" r:id="rId24"/>
    <p:sldId id="2134808949" r:id="rId25"/>
    <p:sldId id="2134806216" r:id="rId26"/>
    <p:sldId id="2134808933" r:id="rId27"/>
    <p:sldId id="2134808839" r:id="rId28"/>
    <p:sldId id="2134808935" r:id="rId29"/>
    <p:sldId id="2147482350" r:id="rId30"/>
    <p:sldId id="2134808862" r:id="rId31"/>
    <p:sldId id="2134808617" r:id="rId32"/>
    <p:sldId id="2147482363" r:id="rId33"/>
    <p:sldId id="2147482365" r:id="rId34"/>
    <p:sldId id="2147482366" r:id="rId35"/>
    <p:sldId id="2147482367" r:id="rId36"/>
    <p:sldId id="2134808486" r:id="rId37"/>
    <p:sldId id="2134807357" r:id="rId38"/>
    <p:sldId id="2147482369" r:id="rId39"/>
    <p:sldId id="2134808857" r:id="rId40"/>
    <p:sldId id="2134805975" r:id="rId41"/>
    <p:sldId id="2134805828" r:id="rId42"/>
    <p:sldId id="2134808983" r:id="rId43"/>
    <p:sldId id="2134805527" r:id="rId44"/>
    <p:sldId id="2134808914" r:id="rId45"/>
    <p:sldId id="2134805528" r:id="rId46"/>
    <p:sldId id="2134808436" r:id="rId47"/>
    <p:sldId id="2134808985" r:id="rId48"/>
    <p:sldId id="2134808986" r:id="rId49"/>
    <p:sldId id="2134808987" r:id="rId50"/>
    <p:sldId id="2134808988" r:id="rId51"/>
    <p:sldId id="2134808989" r:id="rId52"/>
    <p:sldId id="2134808990" r:id="rId53"/>
    <p:sldId id="2134808992" r:id="rId54"/>
    <p:sldId id="2134808993" r:id="rId55"/>
    <p:sldId id="2134808994" r:id="rId56"/>
    <p:sldId id="2134808995" r:id="rId57"/>
    <p:sldId id="2134808431" r:id="rId58"/>
    <p:sldId id="2147482370" r:id="rId59"/>
    <p:sldId id="2134807509" r:id="rId60"/>
    <p:sldId id="2134808996" r:id="rId61"/>
    <p:sldId id="2134808958" r:id="rId62"/>
    <p:sldId id="2134808775" r:id="rId63"/>
    <p:sldId id="2134808474" r:id="rId64"/>
    <p:sldId id="2147482339" r:id="rId65"/>
  </p:sldIdLst>
  <p:sldSz cx="13716000" cy="10287000"/>
  <p:notesSz cx="6858000" cy="9144000"/>
  <p:embeddedFontLst>
    <p:embeddedFont>
      <p:font typeface="Cambria" panose="02040503050406030204" pitchFamily="18" charset="0"/>
      <p:regular r:id="rId67"/>
      <p:bold r:id="rId68"/>
      <p:italic r:id="rId69"/>
      <p:boldItalic r:id="rId70"/>
    </p:embeddedFont>
    <p:embeddedFont>
      <p:font typeface="Carelia" panose="020B0604020202020204" charset="0"/>
      <p:regular r:id="rId71"/>
    </p:embeddedFont>
    <p:embeddedFont>
      <p:font typeface="Dosis" pitchFamily="2" charset="0"/>
      <p:regular r:id="rId72"/>
      <p:bold r:id="rId73"/>
    </p:embeddedFont>
    <p:embeddedFont>
      <p:font typeface="Dosis Bold" charset="0"/>
      <p:regular r:id="rId74"/>
      <p:bold r:id="rId75"/>
    </p:embeddedFont>
    <p:embeddedFont>
      <p:font typeface="KG Primary Penmanship Alt" panose="020B0604020202020204" charset="0"/>
      <p:regular r:id="rId76"/>
    </p:embeddedFont>
    <p:embeddedFont>
      <p:font typeface="Montserrat" panose="00000500000000000000" pitchFamily="2" charset="0"/>
      <p:regular r:id="rId77"/>
      <p:bold r:id="rId78"/>
      <p:italic r:id="rId79"/>
      <p:boldItalic r:id="rId80"/>
    </p:embeddedFont>
    <p:embeddedFont>
      <p:font typeface="Traditional Arabic" panose="02020603050405020304" pitchFamily="18" charset="-78"/>
      <p:regular r:id="rId81"/>
      <p:bold r:id="rId82"/>
    </p:embeddedFont>
  </p:embeddedFontLst>
  <p:defaultTextStyle>
    <a:defPPr>
      <a:defRPr lang="fr-FR"/>
    </a:defPPr>
    <a:lvl1pPr marL="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40" userDrawn="1">
          <p15:clr>
            <a:srgbClr val="A4A3A4"/>
          </p15:clr>
        </p15:guide>
        <p15:guide id="2" pos="43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7803F"/>
    <a:srgbClr val="F2F2F2"/>
    <a:srgbClr val="7F7F7F"/>
    <a:srgbClr val="106584"/>
    <a:srgbClr val="FDEADA"/>
    <a:srgbClr val="FFFFFF"/>
    <a:srgbClr val="F7F1BD"/>
    <a:srgbClr val="106585"/>
    <a:srgbClr val="426C7C"/>
    <a:srgbClr val="E46C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8161" autoAdjust="0"/>
    <p:restoredTop sz="95196" autoAdjust="0"/>
  </p:normalViewPr>
  <p:slideViewPr>
    <p:cSldViewPr snapToGrid="0">
      <p:cViewPr varScale="1">
        <p:scale>
          <a:sx n="55" d="100"/>
          <a:sy n="55" d="100"/>
        </p:scale>
        <p:origin x="874" y="53"/>
      </p:cViewPr>
      <p:guideLst>
        <p:guide orient="horz" pos="3240"/>
        <p:guide pos="43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font" Target="fonts/font2.fntdata"/><Relationship Id="rId84" Type="http://schemas.openxmlformats.org/officeDocument/2006/relationships/viewProps" Target="viewProps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font" Target="fonts/font8.fntdata"/><Relationship Id="rId79" Type="http://schemas.openxmlformats.org/officeDocument/2006/relationships/font" Target="fonts/font13.fntdata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font" Target="fonts/font3.fntdata"/><Relationship Id="rId77" Type="http://schemas.openxmlformats.org/officeDocument/2006/relationships/font" Target="fonts/font11.fntdata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font" Target="fonts/font6.fntdata"/><Relationship Id="rId80" Type="http://schemas.openxmlformats.org/officeDocument/2006/relationships/font" Target="fonts/font14.fntdata"/><Relationship Id="rId85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font" Target="fonts/font1.fntdata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font" Target="fonts/font4.fntdata"/><Relationship Id="rId75" Type="http://schemas.openxmlformats.org/officeDocument/2006/relationships/font" Target="fonts/font9.fntdata"/><Relationship Id="rId83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font" Target="fonts/font7.fntdata"/><Relationship Id="rId78" Type="http://schemas.openxmlformats.org/officeDocument/2006/relationships/font" Target="fonts/font12.fntdata"/><Relationship Id="rId81" Type="http://schemas.openxmlformats.org/officeDocument/2006/relationships/font" Target="fonts/font15.fntdata"/><Relationship Id="rId86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font" Target="fonts/font10.fntdata"/><Relationship Id="rId7" Type="http://schemas.openxmlformats.org/officeDocument/2006/relationships/slide" Target="slides/slide3.xml"/><Relationship Id="rId71" Type="http://schemas.openxmlformats.org/officeDocument/2006/relationships/font" Target="fonts/font5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notesMaster" Target="notesMasters/notesMaster1.xml"/><Relationship Id="rId61" Type="http://schemas.openxmlformats.org/officeDocument/2006/relationships/slide" Target="slides/slide57.xml"/><Relationship Id="rId82" Type="http://schemas.openxmlformats.org/officeDocument/2006/relationships/font" Target="fonts/font16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BA23E8-4B26-4847-82AA-716B989AA6C3}" type="datetimeFigureOut">
              <a:rPr lang="fr-FR" smtClean="0"/>
              <a:t>13/07/2025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F29E1B-11DA-4B7D-8F83-C5BDF1FFE556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77191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">
          <a:extLst>
            <a:ext uri="{FF2B5EF4-FFF2-40B4-BE49-F238E27FC236}">
              <a16:creationId xmlns:a16="http://schemas.microsoft.com/office/drawing/2014/main" id="{64BA5DBC-630B-6D2B-86EF-B2541E7914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g21c9da5e15f_2_12:notes">
            <a:extLst>
              <a:ext uri="{FF2B5EF4-FFF2-40B4-BE49-F238E27FC236}">
                <a16:creationId xmlns:a16="http://schemas.microsoft.com/office/drawing/2014/main" id="{1C01961B-CCB2-14C6-E970-85FA2E43BF5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815975" y="860425"/>
            <a:ext cx="5726113" cy="42941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6" name="Google Shape;66;g21c9da5e15f_2_12:notes">
            <a:extLst>
              <a:ext uri="{FF2B5EF4-FFF2-40B4-BE49-F238E27FC236}">
                <a16:creationId xmlns:a16="http://schemas.microsoft.com/office/drawing/2014/main" id="{92AAF120-4EAE-105C-0096-6AB849D218A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35898" y="5441279"/>
            <a:ext cx="5887174" cy="5154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4700" tIns="104700" rIns="104700" bIns="104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</a:pPr>
            <a:endParaRPr sz="1300"/>
          </a:p>
        </p:txBody>
      </p:sp>
    </p:spTree>
    <p:extLst>
      <p:ext uri="{BB962C8B-B14F-4D97-AF65-F5344CB8AC3E}">
        <p14:creationId xmlns:p14="http://schemas.microsoft.com/office/powerpoint/2010/main" val="2356862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3417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5609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3"/>
            <a:ext cx="15430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3"/>
            <a:ext cx="45148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559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9970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7548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6" y="4406906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6" y="2906716"/>
            <a:ext cx="5829300" cy="1500188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9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1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2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3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4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51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6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6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7436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7"/>
            <a:ext cx="3028950" cy="452596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7"/>
            <a:ext cx="3028950" cy="452596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4660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3" y="1535114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9" indent="0">
              <a:buNone/>
              <a:defRPr sz="1500" b="1"/>
            </a:lvl2pPr>
            <a:lvl3pPr marL="685818" indent="0">
              <a:buNone/>
              <a:defRPr sz="1350" b="1"/>
            </a:lvl3pPr>
            <a:lvl4pPr marL="1028727" indent="0">
              <a:buNone/>
              <a:defRPr sz="1200" b="1"/>
            </a:lvl4pPr>
            <a:lvl5pPr marL="1371635" indent="0">
              <a:buNone/>
              <a:defRPr sz="1200" b="1"/>
            </a:lvl5pPr>
            <a:lvl6pPr marL="1714542" indent="0">
              <a:buNone/>
              <a:defRPr sz="1200" b="1"/>
            </a:lvl6pPr>
            <a:lvl7pPr marL="2057451" indent="0">
              <a:buNone/>
              <a:defRPr sz="1200" b="1"/>
            </a:lvl7pPr>
            <a:lvl8pPr marL="2400360" indent="0">
              <a:buNone/>
              <a:defRPr sz="1200" b="1"/>
            </a:lvl8pPr>
            <a:lvl9pPr marL="274326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3" y="2174876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3" y="1535114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9" indent="0">
              <a:buNone/>
              <a:defRPr sz="1500" b="1"/>
            </a:lvl2pPr>
            <a:lvl3pPr marL="685818" indent="0">
              <a:buNone/>
              <a:defRPr sz="1350" b="1"/>
            </a:lvl3pPr>
            <a:lvl4pPr marL="1028727" indent="0">
              <a:buNone/>
              <a:defRPr sz="1200" b="1"/>
            </a:lvl4pPr>
            <a:lvl5pPr marL="1371635" indent="0">
              <a:buNone/>
              <a:defRPr sz="1200" b="1"/>
            </a:lvl5pPr>
            <a:lvl6pPr marL="1714542" indent="0">
              <a:buNone/>
              <a:defRPr sz="1200" b="1"/>
            </a:lvl6pPr>
            <a:lvl7pPr marL="2057451" indent="0">
              <a:buNone/>
              <a:defRPr sz="1200" b="1"/>
            </a:lvl7pPr>
            <a:lvl8pPr marL="2400360" indent="0">
              <a:buNone/>
              <a:defRPr sz="1200" b="1"/>
            </a:lvl8pPr>
            <a:lvl9pPr marL="274326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3" y="2174876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541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3610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8727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4" y="273050"/>
            <a:ext cx="2256236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91" y="273056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4" y="1435106"/>
            <a:ext cx="2256236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9" indent="0">
              <a:buNone/>
              <a:defRPr sz="900"/>
            </a:lvl2pPr>
            <a:lvl3pPr marL="685818" indent="0">
              <a:buNone/>
              <a:defRPr sz="750"/>
            </a:lvl3pPr>
            <a:lvl4pPr marL="1028727" indent="0">
              <a:buNone/>
              <a:defRPr sz="675"/>
            </a:lvl4pPr>
            <a:lvl5pPr marL="1371635" indent="0">
              <a:buNone/>
              <a:defRPr sz="675"/>
            </a:lvl5pPr>
            <a:lvl6pPr marL="1714542" indent="0">
              <a:buNone/>
              <a:defRPr sz="675"/>
            </a:lvl6pPr>
            <a:lvl7pPr marL="2057451" indent="0">
              <a:buNone/>
              <a:defRPr sz="675"/>
            </a:lvl7pPr>
            <a:lvl8pPr marL="2400360" indent="0">
              <a:buNone/>
              <a:defRPr sz="675"/>
            </a:lvl8pPr>
            <a:lvl9pPr marL="2743269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159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9824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1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6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9" indent="0">
              <a:buNone/>
              <a:defRPr sz="2100"/>
            </a:lvl2pPr>
            <a:lvl3pPr marL="685818" indent="0">
              <a:buNone/>
              <a:defRPr sz="1800"/>
            </a:lvl3pPr>
            <a:lvl4pPr marL="1028727" indent="0">
              <a:buNone/>
              <a:defRPr sz="1500"/>
            </a:lvl4pPr>
            <a:lvl5pPr marL="1371635" indent="0">
              <a:buNone/>
              <a:defRPr sz="1500"/>
            </a:lvl5pPr>
            <a:lvl6pPr marL="1714542" indent="0">
              <a:buNone/>
              <a:defRPr sz="1500"/>
            </a:lvl6pPr>
            <a:lvl7pPr marL="2057451" indent="0">
              <a:buNone/>
              <a:defRPr sz="1500"/>
            </a:lvl7pPr>
            <a:lvl8pPr marL="2400360" indent="0">
              <a:buNone/>
              <a:defRPr sz="1500"/>
            </a:lvl8pPr>
            <a:lvl9pPr marL="2743269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3"/>
          </a:xfrm>
        </p:spPr>
        <p:txBody>
          <a:bodyPr/>
          <a:lstStyle>
            <a:lvl1pPr marL="0" indent="0">
              <a:buNone/>
              <a:defRPr sz="1050"/>
            </a:lvl1pPr>
            <a:lvl2pPr marL="342909" indent="0">
              <a:buNone/>
              <a:defRPr sz="900"/>
            </a:lvl2pPr>
            <a:lvl3pPr marL="685818" indent="0">
              <a:buNone/>
              <a:defRPr sz="750"/>
            </a:lvl3pPr>
            <a:lvl4pPr marL="1028727" indent="0">
              <a:buNone/>
              <a:defRPr sz="675"/>
            </a:lvl4pPr>
            <a:lvl5pPr marL="1371635" indent="0">
              <a:buNone/>
              <a:defRPr sz="675"/>
            </a:lvl5pPr>
            <a:lvl6pPr marL="1714542" indent="0">
              <a:buNone/>
              <a:defRPr sz="675"/>
            </a:lvl6pPr>
            <a:lvl7pPr marL="2057451" indent="0">
              <a:buNone/>
              <a:defRPr sz="675"/>
            </a:lvl7pPr>
            <a:lvl8pPr marL="2400360" indent="0">
              <a:buNone/>
              <a:defRPr sz="675"/>
            </a:lvl8pPr>
            <a:lvl9pPr marL="2743269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051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2105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5"/>
            <a:ext cx="1543050" cy="585152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5"/>
            <a:ext cx="4514850" cy="585152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3790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87037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3935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4406905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906714"/>
            <a:ext cx="58293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9416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8334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2" y="1535113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2" y="2174875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1" y="1535113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1" y="2174875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3286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3057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5355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4406905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906714"/>
            <a:ext cx="58293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3216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2" y="273050"/>
            <a:ext cx="2256235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9" y="273055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2" y="1435105"/>
            <a:ext cx="2256235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2946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0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5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956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0995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3"/>
            <a:ext cx="15430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3"/>
            <a:ext cx="45148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5471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12708687" y="9326435"/>
            <a:ext cx="823050" cy="7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886422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6462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2" y="1535113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2" y="2174875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1" y="1535113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1" y="2174875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187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4171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1246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2" y="273050"/>
            <a:ext cx="2256235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9" y="273055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2" y="1435105"/>
            <a:ext cx="2256235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6933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0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5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998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4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5"/>
            <a:ext cx="6172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5"/>
            <a:ext cx="2171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6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7"/>
            <a:ext cx="6172200" cy="45259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6"/>
            <a:ext cx="1600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6"/>
            <a:ext cx="21717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6"/>
            <a:ext cx="1600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952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p:txStyles>
    <p:titleStyle>
      <a:lvl1pPr algn="ctr" defTabSz="685818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81" indent="-257181" algn="l" defTabSz="68581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228" indent="-214319" algn="l" defTabSz="685818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71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80" indent="-171455" algn="l" defTabSz="685818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89" indent="-171455" algn="l" defTabSz="685818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98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07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15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22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8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7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35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42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51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6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6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5"/>
            <a:ext cx="6172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5"/>
            <a:ext cx="2171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038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">
            <a:alphaModFix/>
          </a:blip>
          <a:stretch>
            <a:fillRect/>
          </a:stretch>
        </a:blip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9D89FE3-F3AE-30C7-104E-DEBD5707BB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0759098"/>
              </p:ext>
            </p:extLst>
          </p:nvPr>
        </p:nvGraphicFramePr>
        <p:xfrm>
          <a:off x="1786" y="2382"/>
          <a:ext cx="1787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89FE3-F3AE-30C7-104E-DEBD5707B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86" y="2382"/>
                        <a:ext cx="1787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467550" y="890051"/>
            <a:ext cx="12780900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1"/>
          </p:nvPr>
        </p:nvSpPr>
        <p:spPr>
          <a:xfrm>
            <a:off x="467550" y="2304950"/>
            <a:ext cx="12780900" cy="683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t" anchorCtr="0">
            <a:normAutofit/>
          </a:bodyPr>
          <a:lstStyle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p13"/>
          <p:cNvSpPr txBox="1"/>
          <p:nvPr/>
        </p:nvSpPr>
        <p:spPr>
          <a:xfrm>
            <a:off x="5531922" y="9838709"/>
            <a:ext cx="2652156" cy="227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fr" sz="1200" b="0" i="0" u="none" strike="noStrike" cap="none">
                <a:solidFill>
                  <a:srgbClr val="0563C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N°›</a:t>
            </a:fld>
            <a:endParaRPr sz="1200" b="0" i="0" u="none" strike="noStrike" cap="none">
              <a:solidFill>
                <a:srgbClr val="0563C1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pic>
        <p:nvPicPr>
          <p:cNvPr id="54" name="Google Shape;54;p13" descr="Résultat de recherche d'images pour &quot;logo royaume du maroc&quot;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2645044" y="276097"/>
            <a:ext cx="602585" cy="8765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3"/>
          <p:cNvSpPr txBox="1"/>
          <p:nvPr/>
        </p:nvSpPr>
        <p:spPr>
          <a:xfrm>
            <a:off x="0" y="9858167"/>
            <a:ext cx="3583800" cy="3000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38" tIns="68550" rIns="137138" bIns="6855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" sz="1050" b="1" i="1" u="none" strike="noStrike" cap="none">
                <a:solidFill>
                  <a:srgbClr val="C00000"/>
                </a:solidFill>
                <a:latin typeface="Montserrat"/>
                <a:ea typeface="Montserrat"/>
                <a:cs typeface="Montserrat"/>
                <a:sym typeface="Montserrat"/>
              </a:rPr>
              <a:t>Document confidentiel pour usage interne</a:t>
            </a:r>
            <a:endParaRPr sz="1800" b="1" i="1" u="none" strike="noStrike" cap="none">
              <a:solidFill>
                <a:srgbClr val="C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6226638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17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9.svg"/><Relationship Id="rId3" Type="http://schemas.openxmlformats.org/officeDocument/2006/relationships/tags" Target="../tags/tag4.xml"/><Relationship Id="rId21" Type="http://schemas.openxmlformats.org/officeDocument/2006/relationships/image" Target="../media/image12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8.png"/><Relationship Id="rId2" Type="http://schemas.openxmlformats.org/officeDocument/2006/relationships/tags" Target="../tags/tag3.xml"/><Relationship Id="rId16" Type="http://schemas.openxmlformats.org/officeDocument/2006/relationships/image" Target="../media/image7.svg"/><Relationship Id="rId20" Type="http://schemas.openxmlformats.org/officeDocument/2006/relationships/image" Target="../media/image11.sv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6.png"/><Relationship Id="rId10" Type="http://schemas.openxmlformats.org/officeDocument/2006/relationships/tags" Target="../tags/tag11.xml"/><Relationship Id="rId19" Type="http://schemas.openxmlformats.org/officeDocument/2006/relationships/image" Target="../media/image10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5.xml"/><Relationship Id="rId7" Type="http://schemas.openxmlformats.org/officeDocument/2006/relationships/image" Target="../media/image5.jpe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107.xml"/><Relationship Id="rId10" Type="http://schemas.openxmlformats.org/officeDocument/2006/relationships/image" Target="../media/image8.png"/><Relationship Id="rId4" Type="http://schemas.openxmlformats.org/officeDocument/2006/relationships/tags" Target="../tags/tag106.xml"/><Relationship Id="rId9" Type="http://schemas.openxmlformats.org/officeDocument/2006/relationships/image" Target="../media/image7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image" Target="../media/image36.png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image" Target="../media/image16.svg"/><Relationship Id="rId5" Type="http://schemas.openxmlformats.org/officeDocument/2006/relationships/tags" Target="../tags/tag112.xml"/><Relationship Id="rId10" Type="http://schemas.openxmlformats.org/officeDocument/2006/relationships/image" Target="../media/image15.png"/><Relationship Id="rId4" Type="http://schemas.openxmlformats.org/officeDocument/2006/relationships/tags" Target="../tags/tag111.xml"/><Relationship Id="rId9" Type="http://schemas.openxmlformats.org/officeDocument/2006/relationships/image" Target="../media/image5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image" Target="../media/image16.svg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image" Target="../media/image15.png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image" Target="../media/image5.jpeg"/><Relationship Id="rId5" Type="http://schemas.openxmlformats.org/officeDocument/2006/relationships/tags" Target="../tags/tag119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118.xml"/><Relationship Id="rId9" Type="http://schemas.openxmlformats.org/officeDocument/2006/relationships/tags" Target="../tags/tag12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26.xml"/><Relationship Id="rId7" Type="http://schemas.openxmlformats.org/officeDocument/2006/relationships/image" Target="../media/image5.jpeg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128.xml"/><Relationship Id="rId10" Type="http://schemas.openxmlformats.org/officeDocument/2006/relationships/image" Target="../media/image8.png"/><Relationship Id="rId4" Type="http://schemas.openxmlformats.org/officeDocument/2006/relationships/tags" Target="../tags/tag127.xml"/><Relationship Id="rId9" Type="http://schemas.openxmlformats.org/officeDocument/2006/relationships/image" Target="../media/image7.svg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141.xml"/><Relationship Id="rId18" Type="http://schemas.openxmlformats.org/officeDocument/2006/relationships/tags" Target="../tags/tag146.xml"/><Relationship Id="rId26" Type="http://schemas.openxmlformats.org/officeDocument/2006/relationships/tags" Target="../tags/tag154.xml"/><Relationship Id="rId3" Type="http://schemas.openxmlformats.org/officeDocument/2006/relationships/tags" Target="../tags/tag131.xml"/><Relationship Id="rId21" Type="http://schemas.openxmlformats.org/officeDocument/2006/relationships/tags" Target="../tags/tag149.xml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17" Type="http://schemas.openxmlformats.org/officeDocument/2006/relationships/tags" Target="../tags/tag145.xml"/><Relationship Id="rId25" Type="http://schemas.openxmlformats.org/officeDocument/2006/relationships/tags" Target="../tags/tag153.xml"/><Relationship Id="rId33" Type="http://schemas.openxmlformats.org/officeDocument/2006/relationships/image" Target="../media/image16.svg"/><Relationship Id="rId2" Type="http://schemas.openxmlformats.org/officeDocument/2006/relationships/tags" Target="../tags/tag130.xml"/><Relationship Id="rId16" Type="http://schemas.openxmlformats.org/officeDocument/2006/relationships/tags" Target="../tags/tag144.xml"/><Relationship Id="rId20" Type="http://schemas.openxmlformats.org/officeDocument/2006/relationships/tags" Target="../tags/tag148.xml"/><Relationship Id="rId29" Type="http://schemas.openxmlformats.org/officeDocument/2006/relationships/tags" Target="../tags/tag157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24" Type="http://schemas.openxmlformats.org/officeDocument/2006/relationships/tags" Target="../tags/tag152.xml"/><Relationship Id="rId32" Type="http://schemas.openxmlformats.org/officeDocument/2006/relationships/image" Target="../media/image15.png"/><Relationship Id="rId5" Type="http://schemas.openxmlformats.org/officeDocument/2006/relationships/tags" Target="../tags/tag133.xml"/><Relationship Id="rId15" Type="http://schemas.openxmlformats.org/officeDocument/2006/relationships/tags" Target="../tags/tag143.xml"/><Relationship Id="rId23" Type="http://schemas.openxmlformats.org/officeDocument/2006/relationships/tags" Target="../tags/tag151.xml"/><Relationship Id="rId28" Type="http://schemas.openxmlformats.org/officeDocument/2006/relationships/tags" Target="../tags/tag156.xml"/><Relationship Id="rId10" Type="http://schemas.openxmlformats.org/officeDocument/2006/relationships/tags" Target="../tags/tag138.xml"/><Relationship Id="rId19" Type="http://schemas.openxmlformats.org/officeDocument/2006/relationships/tags" Target="../tags/tag147.xml"/><Relationship Id="rId31" Type="http://schemas.openxmlformats.org/officeDocument/2006/relationships/image" Target="../media/image5.jpeg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tags" Target="../tags/tag142.xml"/><Relationship Id="rId22" Type="http://schemas.openxmlformats.org/officeDocument/2006/relationships/tags" Target="../tags/tag150.xml"/><Relationship Id="rId27" Type="http://schemas.openxmlformats.org/officeDocument/2006/relationships/tags" Target="../tags/tag155.xml"/><Relationship Id="rId30" Type="http://schemas.openxmlformats.org/officeDocument/2006/relationships/slideLayout" Target="../slideLayouts/slideLayout7.xml"/><Relationship Id="rId8" Type="http://schemas.openxmlformats.org/officeDocument/2006/relationships/tags" Target="../tags/tag13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65.xml"/><Relationship Id="rId13" Type="http://schemas.openxmlformats.org/officeDocument/2006/relationships/image" Target="../media/image37.png"/><Relationship Id="rId3" Type="http://schemas.openxmlformats.org/officeDocument/2006/relationships/tags" Target="../tags/tag160.xml"/><Relationship Id="rId7" Type="http://schemas.openxmlformats.org/officeDocument/2006/relationships/tags" Target="../tags/tag164.xml"/><Relationship Id="rId12" Type="http://schemas.openxmlformats.org/officeDocument/2006/relationships/image" Target="../media/image16.svg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11" Type="http://schemas.openxmlformats.org/officeDocument/2006/relationships/image" Target="../media/image15.png"/><Relationship Id="rId5" Type="http://schemas.openxmlformats.org/officeDocument/2006/relationships/tags" Target="../tags/tag162.xml"/><Relationship Id="rId15" Type="http://schemas.openxmlformats.org/officeDocument/2006/relationships/image" Target="../media/image39.png"/><Relationship Id="rId10" Type="http://schemas.openxmlformats.org/officeDocument/2006/relationships/image" Target="../media/image5.jpeg"/><Relationship Id="rId4" Type="http://schemas.openxmlformats.org/officeDocument/2006/relationships/tags" Target="../tags/tag161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168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9.svg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11" Type="http://schemas.openxmlformats.org/officeDocument/2006/relationships/image" Target="../media/image8.png"/><Relationship Id="rId5" Type="http://schemas.openxmlformats.org/officeDocument/2006/relationships/tags" Target="../tags/tag170.xml"/><Relationship Id="rId10" Type="http://schemas.openxmlformats.org/officeDocument/2006/relationships/image" Target="../media/image7.svg"/><Relationship Id="rId4" Type="http://schemas.openxmlformats.org/officeDocument/2006/relationships/tags" Target="../tags/tag169.xml"/><Relationship Id="rId9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13" Type="http://schemas.openxmlformats.org/officeDocument/2006/relationships/image" Target="../media/image29.svg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12" Type="http://schemas.openxmlformats.org/officeDocument/2006/relationships/image" Target="../media/image15.png"/><Relationship Id="rId2" Type="http://schemas.openxmlformats.org/officeDocument/2006/relationships/tags" Target="../tags/tag173.xml"/><Relationship Id="rId16" Type="http://schemas.openxmlformats.org/officeDocument/2006/relationships/image" Target="../media/image42.png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11" Type="http://schemas.openxmlformats.org/officeDocument/2006/relationships/image" Target="../media/image5.jpeg"/><Relationship Id="rId5" Type="http://schemas.openxmlformats.org/officeDocument/2006/relationships/tags" Target="../tags/tag176.xml"/><Relationship Id="rId15" Type="http://schemas.openxmlformats.org/officeDocument/2006/relationships/image" Target="../media/image41.svg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175.xml"/><Relationship Id="rId9" Type="http://schemas.openxmlformats.org/officeDocument/2006/relationships/tags" Target="../tags/tag180.xml"/><Relationship Id="rId14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88.xml"/><Relationship Id="rId13" Type="http://schemas.openxmlformats.org/officeDocument/2006/relationships/image" Target="../media/image43.png"/><Relationship Id="rId3" Type="http://schemas.openxmlformats.org/officeDocument/2006/relationships/tags" Target="../tags/tag183.xml"/><Relationship Id="rId7" Type="http://schemas.openxmlformats.org/officeDocument/2006/relationships/tags" Target="../tags/tag187.xml"/><Relationship Id="rId12" Type="http://schemas.openxmlformats.org/officeDocument/2006/relationships/image" Target="../media/image19.svg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tags" Target="../tags/tag186.xml"/><Relationship Id="rId11" Type="http://schemas.openxmlformats.org/officeDocument/2006/relationships/image" Target="../media/image18.png"/><Relationship Id="rId5" Type="http://schemas.openxmlformats.org/officeDocument/2006/relationships/tags" Target="../tags/tag185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84.xml"/><Relationship Id="rId9" Type="http://schemas.openxmlformats.org/officeDocument/2006/relationships/tags" Target="../tags/tag18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92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45.jpeg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tags" Target="../tags/tag195.xml"/><Relationship Id="rId11" Type="http://schemas.openxmlformats.org/officeDocument/2006/relationships/image" Target="../media/image44.png"/><Relationship Id="rId5" Type="http://schemas.openxmlformats.org/officeDocument/2006/relationships/tags" Target="../tags/tag194.xml"/><Relationship Id="rId10" Type="http://schemas.openxmlformats.org/officeDocument/2006/relationships/image" Target="../media/image22.png"/><Relationship Id="rId4" Type="http://schemas.openxmlformats.org/officeDocument/2006/relationships/tags" Target="../tags/tag193.xml"/><Relationship Id="rId9" Type="http://schemas.openxmlformats.org/officeDocument/2006/relationships/image" Target="../media/image19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8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7.svg"/><Relationship Id="rId2" Type="http://schemas.openxmlformats.org/officeDocument/2006/relationships/tags" Target="../tags/tag15.xml"/><Relationship Id="rId16" Type="http://schemas.openxmlformats.org/officeDocument/2006/relationships/image" Target="../media/image14.pn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image" Target="../media/image6.png"/><Relationship Id="rId5" Type="http://schemas.openxmlformats.org/officeDocument/2006/relationships/tags" Target="../tags/tag18.xml"/><Relationship Id="rId15" Type="http://schemas.openxmlformats.org/officeDocument/2006/relationships/image" Target="../media/image13.png"/><Relationship Id="rId10" Type="http://schemas.openxmlformats.org/officeDocument/2006/relationships/image" Target="../media/image5.jpeg"/><Relationship Id="rId4" Type="http://schemas.openxmlformats.org/officeDocument/2006/relationships/tags" Target="../tags/tag17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9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203.xml"/><Relationship Id="rId13" Type="http://schemas.openxmlformats.org/officeDocument/2006/relationships/image" Target="../media/image44.png"/><Relationship Id="rId3" Type="http://schemas.openxmlformats.org/officeDocument/2006/relationships/tags" Target="../tags/tag198.xml"/><Relationship Id="rId7" Type="http://schemas.openxmlformats.org/officeDocument/2006/relationships/tags" Target="../tags/tag202.xml"/><Relationship Id="rId12" Type="http://schemas.openxmlformats.org/officeDocument/2006/relationships/image" Target="../media/image23.png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tags" Target="../tags/tag201.xml"/><Relationship Id="rId11" Type="http://schemas.openxmlformats.org/officeDocument/2006/relationships/image" Target="../media/image19.svg"/><Relationship Id="rId5" Type="http://schemas.openxmlformats.org/officeDocument/2006/relationships/tags" Target="../tags/tag200.xml"/><Relationship Id="rId10" Type="http://schemas.openxmlformats.org/officeDocument/2006/relationships/image" Target="../media/image18.png"/><Relationship Id="rId4" Type="http://schemas.openxmlformats.org/officeDocument/2006/relationships/tags" Target="../tags/tag199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45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206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9.svg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tags" Target="../tags/tag209.xml"/><Relationship Id="rId11" Type="http://schemas.openxmlformats.org/officeDocument/2006/relationships/image" Target="../media/image8.png"/><Relationship Id="rId5" Type="http://schemas.openxmlformats.org/officeDocument/2006/relationships/tags" Target="../tags/tag208.xml"/><Relationship Id="rId10" Type="http://schemas.openxmlformats.org/officeDocument/2006/relationships/image" Target="../media/image7.svg"/><Relationship Id="rId4" Type="http://schemas.openxmlformats.org/officeDocument/2006/relationships/tags" Target="../tags/tag207.xml"/><Relationship Id="rId9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17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41.svg"/><Relationship Id="rId3" Type="http://schemas.openxmlformats.org/officeDocument/2006/relationships/tags" Target="../tags/tag212.xml"/><Relationship Id="rId7" Type="http://schemas.openxmlformats.org/officeDocument/2006/relationships/tags" Target="../tags/tag216.xml"/><Relationship Id="rId12" Type="http://schemas.openxmlformats.org/officeDocument/2006/relationships/tags" Target="../tags/tag221.xml"/><Relationship Id="rId17" Type="http://schemas.openxmlformats.org/officeDocument/2006/relationships/image" Target="../media/image40.png"/><Relationship Id="rId2" Type="http://schemas.openxmlformats.org/officeDocument/2006/relationships/tags" Target="../tags/tag211.xml"/><Relationship Id="rId16" Type="http://schemas.openxmlformats.org/officeDocument/2006/relationships/image" Target="../media/image29.svg"/><Relationship Id="rId1" Type="http://schemas.openxmlformats.org/officeDocument/2006/relationships/tags" Target="../tags/tag210.xml"/><Relationship Id="rId6" Type="http://schemas.openxmlformats.org/officeDocument/2006/relationships/tags" Target="../tags/tag215.xml"/><Relationship Id="rId11" Type="http://schemas.openxmlformats.org/officeDocument/2006/relationships/tags" Target="../tags/tag220.xml"/><Relationship Id="rId5" Type="http://schemas.openxmlformats.org/officeDocument/2006/relationships/tags" Target="../tags/tag214.xml"/><Relationship Id="rId15" Type="http://schemas.openxmlformats.org/officeDocument/2006/relationships/image" Target="../media/image15.png"/><Relationship Id="rId10" Type="http://schemas.openxmlformats.org/officeDocument/2006/relationships/tags" Target="../tags/tag219.xml"/><Relationship Id="rId19" Type="http://schemas.openxmlformats.org/officeDocument/2006/relationships/image" Target="../media/image42.png"/><Relationship Id="rId4" Type="http://schemas.openxmlformats.org/officeDocument/2006/relationships/tags" Target="../tags/tag213.xml"/><Relationship Id="rId9" Type="http://schemas.openxmlformats.org/officeDocument/2006/relationships/tags" Target="../tags/tag218.xml"/><Relationship Id="rId14" Type="http://schemas.openxmlformats.org/officeDocument/2006/relationships/image" Target="../media/image5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29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48.png"/><Relationship Id="rId3" Type="http://schemas.openxmlformats.org/officeDocument/2006/relationships/tags" Target="../tags/tag224.xml"/><Relationship Id="rId7" Type="http://schemas.openxmlformats.org/officeDocument/2006/relationships/tags" Target="../tags/tag228.xml"/><Relationship Id="rId12" Type="http://schemas.openxmlformats.org/officeDocument/2006/relationships/tags" Target="../tags/tag233.xml"/><Relationship Id="rId17" Type="http://schemas.openxmlformats.org/officeDocument/2006/relationships/image" Target="../media/image47.PNG"/><Relationship Id="rId2" Type="http://schemas.openxmlformats.org/officeDocument/2006/relationships/tags" Target="../tags/tag223.xml"/><Relationship Id="rId16" Type="http://schemas.openxmlformats.org/officeDocument/2006/relationships/image" Target="../media/image46.png"/><Relationship Id="rId1" Type="http://schemas.openxmlformats.org/officeDocument/2006/relationships/tags" Target="../tags/tag222.xml"/><Relationship Id="rId6" Type="http://schemas.openxmlformats.org/officeDocument/2006/relationships/tags" Target="../tags/tag227.xml"/><Relationship Id="rId11" Type="http://schemas.openxmlformats.org/officeDocument/2006/relationships/tags" Target="../tags/tag232.xml"/><Relationship Id="rId5" Type="http://schemas.openxmlformats.org/officeDocument/2006/relationships/tags" Target="../tags/tag226.xml"/><Relationship Id="rId15" Type="http://schemas.openxmlformats.org/officeDocument/2006/relationships/image" Target="../media/image19.svg"/><Relationship Id="rId10" Type="http://schemas.openxmlformats.org/officeDocument/2006/relationships/tags" Target="../tags/tag231.xml"/><Relationship Id="rId4" Type="http://schemas.openxmlformats.org/officeDocument/2006/relationships/tags" Target="../tags/tag225.xml"/><Relationship Id="rId9" Type="http://schemas.openxmlformats.org/officeDocument/2006/relationships/tags" Target="../tags/tag230.xml"/><Relationship Id="rId14" Type="http://schemas.openxmlformats.org/officeDocument/2006/relationships/image" Target="../media/image1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41.xml"/><Relationship Id="rId13" Type="http://schemas.openxmlformats.org/officeDocument/2006/relationships/tags" Target="../tags/tag244.xml"/><Relationship Id="rId18" Type="http://schemas.openxmlformats.org/officeDocument/2006/relationships/image" Target="../media/image46.png"/><Relationship Id="rId3" Type="http://schemas.openxmlformats.org/officeDocument/2006/relationships/tags" Target="../tags/tag236.xml"/><Relationship Id="rId21" Type="http://schemas.openxmlformats.org/officeDocument/2006/relationships/image" Target="../media/image49.png"/><Relationship Id="rId7" Type="http://schemas.openxmlformats.org/officeDocument/2006/relationships/tags" Target="../tags/tag240.xml"/><Relationship Id="rId12" Type="http://schemas.openxmlformats.org/officeDocument/2006/relationships/tags" Target="../tags/tag243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235.xml"/><Relationship Id="rId16" Type="http://schemas.openxmlformats.org/officeDocument/2006/relationships/tags" Target="../tags/tag247.xml"/><Relationship Id="rId20" Type="http://schemas.openxmlformats.org/officeDocument/2006/relationships/image" Target="../media/image48.png"/><Relationship Id="rId1" Type="http://schemas.openxmlformats.org/officeDocument/2006/relationships/tags" Target="../tags/tag234.xml"/><Relationship Id="rId6" Type="http://schemas.openxmlformats.org/officeDocument/2006/relationships/tags" Target="../tags/tag239.xml"/><Relationship Id="rId11" Type="http://schemas.openxmlformats.org/officeDocument/2006/relationships/tags" Target="../tags/tag242.xml"/><Relationship Id="rId5" Type="http://schemas.openxmlformats.org/officeDocument/2006/relationships/tags" Target="../tags/tag238.xml"/><Relationship Id="rId15" Type="http://schemas.openxmlformats.org/officeDocument/2006/relationships/tags" Target="../tags/tag246.xml"/><Relationship Id="rId10" Type="http://schemas.openxmlformats.org/officeDocument/2006/relationships/audio" Target="../media/media1.wav"/><Relationship Id="rId19" Type="http://schemas.openxmlformats.org/officeDocument/2006/relationships/image" Target="../media/image47.PNG"/><Relationship Id="rId4" Type="http://schemas.openxmlformats.org/officeDocument/2006/relationships/tags" Target="../tags/tag237.xml"/><Relationship Id="rId9" Type="http://schemas.microsoft.com/office/2007/relationships/media" Target="../media/media1.wav"/><Relationship Id="rId14" Type="http://schemas.openxmlformats.org/officeDocument/2006/relationships/tags" Target="../tags/tag24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55.xml"/><Relationship Id="rId13" Type="http://schemas.openxmlformats.org/officeDocument/2006/relationships/image" Target="../media/image19.svg"/><Relationship Id="rId3" Type="http://schemas.openxmlformats.org/officeDocument/2006/relationships/tags" Target="../tags/tag250.xml"/><Relationship Id="rId7" Type="http://schemas.openxmlformats.org/officeDocument/2006/relationships/tags" Target="../tags/tag254.xml"/><Relationship Id="rId12" Type="http://schemas.openxmlformats.org/officeDocument/2006/relationships/image" Target="../media/image18.png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6" Type="http://schemas.openxmlformats.org/officeDocument/2006/relationships/tags" Target="../tags/tag253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252.xml"/><Relationship Id="rId10" Type="http://schemas.openxmlformats.org/officeDocument/2006/relationships/tags" Target="../tags/tag257.xml"/><Relationship Id="rId4" Type="http://schemas.openxmlformats.org/officeDocument/2006/relationships/tags" Target="../tags/tag251.xml"/><Relationship Id="rId9" Type="http://schemas.openxmlformats.org/officeDocument/2006/relationships/tags" Target="../tags/tag256.xml"/><Relationship Id="rId14" Type="http://schemas.openxmlformats.org/officeDocument/2006/relationships/image" Target="../media/image50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65.xml"/><Relationship Id="rId13" Type="http://schemas.openxmlformats.org/officeDocument/2006/relationships/tags" Target="../tags/tag268.xml"/><Relationship Id="rId18" Type="http://schemas.openxmlformats.org/officeDocument/2006/relationships/image" Target="../media/image46.png"/><Relationship Id="rId3" Type="http://schemas.openxmlformats.org/officeDocument/2006/relationships/tags" Target="../tags/tag260.xml"/><Relationship Id="rId21" Type="http://schemas.openxmlformats.org/officeDocument/2006/relationships/image" Target="../media/image49.png"/><Relationship Id="rId7" Type="http://schemas.openxmlformats.org/officeDocument/2006/relationships/tags" Target="../tags/tag264.xml"/><Relationship Id="rId12" Type="http://schemas.openxmlformats.org/officeDocument/2006/relationships/tags" Target="../tags/tag267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259.xml"/><Relationship Id="rId16" Type="http://schemas.openxmlformats.org/officeDocument/2006/relationships/tags" Target="../tags/tag271.xml"/><Relationship Id="rId20" Type="http://schemas.openxmlformats.org/officeDocument/2006/relationships/image" Target="../media/image48.png"/><Relationship Id="rId1" Type="http://schemas.openxmlformats.org/officeDocument/2006/relationships/tags" Target="../tags/tag258.xml"/><Relationship Id="rId6" Type="http://schemas.openxmlformats.org/officeDocument/2006/relationships/tags" Target="../tags/tag263.xml"/><Relationship Id="rId11" Type="http://schemas.openxmlformats.org/officeDocument/2006/relationships/tags" Target="../tags/tag266.xml"/><Relationship Id="rId5" Type="http://schemas.openxmlformats.org/officeDocument/2006/relationships/tags" Target="../tags/tag262.xml"/><Relationship Id="rId15" Type="http://schemas.openxmlformats.org/officeDocument/2006/relationships/tags" Target="../tags/tag270.xml"/><Relationship Id="rId10" Type="http://schemas.openxmlformats.org/officeDocument/2006/relationships/audio" Target="../media/media1.wav"/><Relationship Id="rId19" Type="http://schemas.openxmlformats.org/officeDocument/2006/relationships/image" Target="../media/image47.PNG"/><Relationship Id="rId4" Type="http://schemas.openxmlformats.org/officeDocument/2006/relationships/tags" Target="../tags/tag261.xml"/><Relationship Id="rId9" Type="http://schemas.microsoft.com/office/2007/relationships/media" Target="../media/media1.wav"/><Relationship Id="rId14" Type="http://schemas.openxmlformats.org/officeDocument/2006/relationships/tags" Target="../tags/tag269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13" Type="http://schemas.openxmlformats.org/officeDocument/2006/relationships/tags" Target="../tags/tag284.xml"/><Relationship Id="rId18" Type="http://schemas.openxmlformats.org/officeDocument/2006/relationships/image" Target="../media/image46.png"/><Relationship Id="rId3" Type="http://schemas.openxmlformats.org/officeDocument/2006/relationships/tags" Target="../tags/tag274.xml"/><Relationship Id="rId21" Type="http://schemas.openxmlformats.org/officeDocument/2006/relationships/image" Target="../media/image52.png"/><Relationship Id="rId7" Type="http://schemas.openxmlformats.org/officeDocument/2006/relationships/tags" Target="../tags/tag278.xml"/><Relationship Id="rId12" Type="http://schemas.openxmlformats.org/officeDocument/2006/relationships/tags" Target="../tags/tag283.xml"/><Relationship Id="rId17" Type="http://schemas.openxmlformats.org/officeDocument/2006/relationships/image" Target="../media/image19.svg"/><Relationship Id="rId2" Type="http://schemas.openxmlformats.org/officeDocument/2006/relationships/tags" Target="../tags/tag273.xml"/><Relationship Id="rId16" Type="http://schemas.openxmlformats.org/officeDocument/2006/relationships/image" Target="../media/image18.png"/><Relationship Id="rId20" Type="http://schemas.openxmlformats.org/officeDocument/2006/relationships/image" Target="../media/image51.png"/><Relationship Id="rId1" Type="http://schemas.openxmlformats.org/officeDocument/2006/relationships/tags" Target="../tags/tag272.xml"/><Relationship Id="rId6" Type="http://schemas.openxmlformats.org/officeDocument/2006/relationships/tags" Target="../tags/tag277.xml"/><Relationship Id="rId11" Type="http://schemas.openxmlformats.org/officeDocument/2006/relationships/tags" Target="../tags/tag282.xml"/><Relationship Id="rId5" Type="http://schemas.openxmlformats.org/officeDocument/2006/relationships/tags" Target="../tags/tag276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281.xml"/><Relationship Id="rId19" Type="http://schemas.openxmlformats.org/officeDocument/2006/relationships/image" Target="../media/image47.PNG"/><Relationship Id="rId4" Type="http://schemas.openxmlformats.org/officeDocument/2006/relationships/tags" Target="../tags/tag275.xml"/><Relationship Id="rId9" Type="http://schemas.openxmlformats.org/officeDocument/2006/relationships/tags" Target="../tags/tag280.xml"/><Relationship Id="rId14" Type="http://schemas.openxmlformats.org/officeDocument/2006/relationships/tags" Target="../tags/tag28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93.xml"/><Relationship Id="rId13" Type="http://schemas.openxmlformats.org/officeDocument/2006/relationships/tags" Target="../tags/tag298.xml"/><Relationship Id="rId18" Type="http://schemas.openxmlformats.org/officeDocument/2006/relationships/image" Target="../media/image19.svg"/><Relationship Id="rId3" Type="http://schemas.openxmlformats.org/officeDocument/2006/relationships/tags" Target="../tags/tag288.xml"/><Relationship Id="rId21" Type="http://schemas.openxmlformats.org/officeDocument/2006/relationships/image" Target="../media/image53.jpeg"/><Relationship Id="rId7" Type="http://schemas.openxmlformats.org/officeDocument/2006/relationships/tags" Target="../tags/tag292.xml"/><Relationship Id="rId12" Type="http://schemas.openxmlformats.org/officeDocument/2006/relationships/tags" Target="../tags/tag297.xml"/><Relationship Id="rId17" Type="http://schemas.openxmlformats.org/officeDocument/2006/relationships/image" Target="../media/image18.png"/><Relationship Id="rId2" Type="http://schemas.openxmlformats.org/officeDocument/2006/relationships/tags" Target="../tags/tag287.xml"/><Relationship Id="rId16" Type="http://schemas.openxmlformats.org/officeDocument/2006/relationships/slideLayout" Target="../slideLayouts/slideLayout7.xml"/><Relationship Id="rId20" Type="http://schemas.openxmlformats.org/officeDocument/2006/relationships/image" Target="../media/image48.png"/><Relationship Id="rId1" Type="http://schemas.openxmlformats.org/officeDocument/2006/relationships/tags" Target="../tags/tag286.xml"/><Relationship Id="rId6" Type="http://schemas.openxmlformats.org/officeDocument/2006/relationships/tags" Target="../tags/tag291.xml"/><Relationship Id="rId11" Type="http://schemas.openxmlformats.org/officeDocument/2006/relationships/tags" Target="../tags/tag296.xml"/><Relationship Id="rId5" Type="http://schemas.openxmlformats.org/officeDocument/2006/relationships/tags" Target="../tags/tag290.xml"/><Relationship Id="rId15" Type="http://schemas.openxmlformats.org/officeDocument/2006/relationships/tags" Target="../tags/tag300.xml"/><Relationship Id="rId23" Type="http://schemas.openxmlformats.org/officeDocument/2006/relationships/image" Target="../media/image51.png"/><Relationship Id="rId10" Type="http://schemas.openxmlformats.org/officeDocument/2006/relationships/tags" Target="../tags/tag295.xml"/><Relationship Id="rId19" Type="http://schemas.openxmlformats.org/officeDocument/2006/relationships/image" Target="../media/image46.png"/><Relationship Id="rId4" Type="http://schemas.openxmlformats.org/officeDocument/2006/relationships/tags" Target="../tags/tag289.xml"/><Relationship Id="rId9" Type="http://schemas.openxmlformats.org/officeDocument/2006/relationships/tags" Target="../tags/tag294.xml"/><Relationship Id="rId14" Type="http://schemas.openxmlformats.org/officeDocument/2006/relationships/tags" Target="../tags/tag299.xml"/><Relationship Id="rId22" Type="http://schemas.openxmlformats.org/officeDocument/2006/relationships/image" Target="../media/image54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308.xml"/><Relationship Id="rId13" Type="http://schemas.openxmlformats.org/officeDocument/2006/relationships/image" Target="../media/image47.PNG"/><Relationship Id="rId3" Type="http://schemas.openxmlformats.org/officeDocument/2006/relationships/tags" Target="../tags/tag303.xml"/><Relationship Id="rId7" Type="http://schemas.openxmlformats.org/officeDocument/2006/relationships/tags" Target="../tags/tag307.xml"/><Relationship Id="rId12" Type="http://schemas.openxmlformats.org/officeDocument/2006/relationships/image" Target="../media/image46.png"/><Relationship Id="rId2" Type="http://schemas.openxmlformats.org/officeDocument/2006/relationships/tags" Target="../tags/tag302.xml"/><Relationship Id="rId1" Type="http://schemas.openxmlformats.org/officeDocument/2006/relationships/tags" Target="../tags/tag301.xml"/><Relationship Id="rId6" Type="http://schemas.openxmlformats.org/officeDocument/2006/relationships/tags" Target="../tags/tag306.xml"/><Relationship Id="rId11" Type="http://schemas.openxmlformats.org/officeDocument/2006/relationships/image" Target="../media/image19.svg"/><Relationship Id="rId5" Type="http://schemas.openxmlformats.org/officeDocument/2006/relationships/tags" Target="../tags/tag305.xml"/><Relationship Id="rId15" Type="http://schemas.openxmlformats.org/officeDocument/2006/relationships/image" Target="../media/image55.png"/><Relationship Id="rId10" Type="http://schemas.openxmlformats.org/officeDocument/2006/relationships/image" Target="../media/image18.png"/><Relationship Id="rId4" Type="http://schemas.openxmlformats.org/officeDocument/2006/relationships/tags" Target="../tags/tag304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5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4.xml"/><Relationship Id="rId7" Type="http://schemas.openxmlformats.org/officeDocument/2006/relationships/image" Target="../media/image5.jpe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26.xml"/><Relationship Id="rId10" Type="http://schemas.openxmlformats.org/officeDocument/2006/relationships/image" Target="../media/image8.png"/><Relationship Id="rId4" Type="http://schemas.openxmlformats.org/officeDocument/2006/relationships/tags" Target="../tags/tag25.xml"/><Relationship Id="rId9" Type="http://schemas.openxmlformats.org/officeDocument/2006/relationships/image" Target="../media/image7.sv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316.xml"/><Relationship Id="rId13" Type="http://schemas.openxmlformats.org/officeDocument/2006/relationships/image" Target="../media/image46.png"/><Relationship Id="rId3" Type="http://schemas.openxmlformats.org/officeDocument/2006/relationships/tags" Target="../tags/tag311.xml"/><Relationship Id="rId7" Type="http://schemas.openxmlformats.org/officeDocument/2006/relationships/tags" Target="../tags/tag315.xml"/><Relationship Id="rId12" Type="http://schemas.openxmlformats.org/officeDocument/2006/relationships/image" Target="../media/image19.svg"/><Relationship Id="rId17" Type="http://schemas.openxmlformats.org/officeDocument/2006/relationships/image" Target="../media/image55.png"/><Relationship Id="rId2" Type="http://schemas.openxmlformats.org/officeDocument/2006/relationships/tags" Target="../tags/tag310.xml"/><Relationship Id="rId16" Type="http://schemas.openxmlformats.org/officeDocument/2006/relationships/image" Target="../media/image54.jpeg"/><Relationship Id="rId1" Type="http://schemas.openxmlformats.org/officeDocument/2006/relationships/tags" Target="../tags/tag309.xml"/><Relationship Id="rId6" Type="http://schemas.openxmlformats.org/officeDocument/2006/relationships/tags" Target="../tags/tag314.xml"/><Relationship Id="rId11" Type="http://schemas.openxmlformats.org/officeDocument/2006/relationships/image" Target="../media/image18.png"/><Relationship Id="rId5" Type="http://schemas.openxmlformats.org/officeDocument/2006/relationships/tags" Target="../tags/tag313.xml"/><Relationship Id="rId15" Type="http://schemas.openxmlformats.org/officeDocument/2006/relationships/image" Target="../media/image53.jpeg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312.xml"/><Relationship Id="rId9" Type="http://schemas.openxmlformats.org/officeDocument/2006/relationships/tags" Target="../tags/tag317.xml"/><Relationship Id="rId14" Type="http://schemas.openxmlformats.org/officeDocument/2006/relationships/image" Target="../media/image48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325.xml"/><Relationship Id="rId13" Type="http://schemas.openxmlformats.org/officeDocument/2006/relationships/tags" Target="../tags/tag330.xml"/><Relationship Id="rId18" Type="http://schemas.openxmlformats.org/officeDocument/2006/relationships/image" Target="../media/image46.png"/><Relationship Id="rId3" Type="http://schemas.openxmlformats.org/officeDocument/2006/relationships/tags" Target="../tags/tag320.xml"/><Relationship Id="rId21" Type="http://schemas.openxmlformats.org/officeDocument/2006/relationships/image" Target="../media/image56.jpeg"/><Relationship Id="rId7" Type="http://schemas.openxmlformats.org/officeDocument/2006/relationships/tags" Target="../tags/tag324.xml"/><Relationship Id="rId12" Type="http://schemas.openxmlformats.org/officeDocument/2006/relationships/tags" Target="../tags/tag329.xml"/><Relationship Id="rId17" Type="http://schemas.openxmlformats.org/officeDocument/2006/relationships/image" Target="../media/image19.svg"/><Relationship Id="rId2" Type="http://schemas.openxmlformats.org/officeDocument/2006/relationships/tags" Target="../tags/tag319.xml"/><Relationship Id="rId16" Type="http://schemas.openxmlformats.org/officeDocument/2006/relationships/image" Target="../media/image18.png"/><Relationship Id="rId20" Type="http://schemas.openxmlformats.org/officeDocument/2006/relationships/image" Target="../media/image52.png"/><Relationship Id="rId1" Type="http://schemas.openxmlformats.org/officeDocument/2006/relationships/tags" Target="../tags/tag318.xml"/><Relationship Id="rId6" Type="http://schemas.openxmlformats.org/officeDocument/2006/relationships/tags" Target="../tags/tag323.xml"/><Relationship Id="rId11" Type="http://schemas.openxmlformats.org/officeDocument/2006/relationships/tags" Target="../tags/tag328.xml"/><Relationship Id="rId5" Type="http://schemas.openxmlformats.org/officeDocument/2006/relationships/tags" Target="../tags/tag322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327.xml"/><Relationship Id="rId19" Type="http://schemas.openxmlformats.org/officeDocument/2006/relationships/image" Target="../media/image47.PNG"/><Relationship Id="rId4" Type="http://schemas.openxmlformats.org/officeDocument/2006/relationships/tags" Target="../tags/tag321.xml"/><Relationship Id="rId9" Type="http://schemas.openxmlformats.org/officeDocument/2006/relationships/tags" Target="../tags/tag326.xml"/><Relationship Id="rId14" Type="http://schemas.openxmlformats.org/officeDocument/2006/relationships/tags" Target="../tags/tag331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339.xml"/><Relationship Id="rId13" Type="http://schemas.openxmlformats.org/officeDocument/2006/relationships/tags" Target="../tags/tag344.xml"/><Relationship Id="rId18" Type="http://schemas.openxmlformats.org/officeDocument/2006/relationships/image" Target="../media/image19.svg"/><Relationship Id="rId3" Type="http://schemas.openxmlformats.org/officeDocument/2006/relationships/tags" Target="../tags/tag334.xml"/><Relationship Id="rId21" Type="http://schemas.openxmlformats.org/officeDocument/2006/relationships/image" Target="../media/image53.jpeg"/><Relationship Id="rId7" Type="http://schemas.openxmlformats.org/officeDocument/2006/relationships/tags" Target="../tags/tag338.xml"/><Relationship Id="rId12" Type="http://schemas.openxmlformats.org/officeDocument/2006/relationships/tags" Target="../tags/tag343.xml"/><Relationship Id="rId17" Type="http://schemas.openxmlformats.org/officeDocument/2006/relationships/image" Target="../media/image18.png"/><Relationship Id="rId2" Type="http://schemas.openxmlformats.org/officeDocument/2006/relationships/tags" Target="../tags/tag333.xml"/><Relationship Id="rId16" Type="http://schemas.openxmlformats.org/officeDocument/2006/relationships/slideLayout" Target="../slideLayouts/slideLayout7.xml"/><Relationship Id="rId20" Type="http://schemas.openxmlformats.org/officeDocument/2006/relationships/image" Target="../media/image48.png"/><Relationship Id="rId1" Type="http://schemas.openxmlformats.org/officeDocument/2006/relationships/tags" Target="../tags/tag332.xml"/><Relationship Id="rId6" Type="http://schemas.openxmlformats.org/officeDocument/2006/relationships/tags" Target="../tags/tag337.xml"/><Relationship Id="rId11" Type="http://schemas.openxmlformats.org/officeDocument/2006/relationships/tags" Target="../tags/tag342.xml"/><Relationship Id="rId5" Type="http://schemas.openxmlformats.org/officeDocument/2006/relationships/tags" Target="../tags/tag336.xml"/><Relationship Id="rId15" Type="http://schemas.openxmlformats.org/officeDocument/2006/relationships/tags" Target="../tags/tag346.xml"/><Relationship Id="rId23" Type="http://schemas.openxmlformats.org/officeDocument/2006/relationships/image" Target="../media/image56.jpeg"/><Relationship Id="rId10" Type="http://schemas.openxmlformats.org/officeDocument/2006/relationships/tags" Target="../tags/tag341.xml"/><Relationship Id="rId19" Type="http://schemas.openxmlformats.org/officeDocument/2006/relationships/image" Target="../media/image46.png"/><Relationship Id="rId4" Type="http://schemas.openxmlformats.org/officeDocument/2006/relationships/tags" Target="../tags/tag335.xml"/><Relationship Id="rId9" Type="http://schemas.openxmlformats.org/officeDocument/2006/relationships/tags" Target="../tags/tag340.xml"/><Relationship Id="rId14" Type="http://schemas.openxmlformats.org/officeDocument/2006/relationships/tags" Target="../tags/tag345.xml"/><Relationship Id="rId22" Type="http://schemas.openxmlformats.org/officeDocument/2006/relationships/image" Target="../media/image54.jpe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49.xml"/><Relationship Id="rId7" Type="http://schemas.openxmlformats.org/officeDocument/2006/relationships/image" Target="../media/image18.png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51.xml"/><Relationship Id="rId10" Type="http://schemas.openxmlformats.org/officeDocument/2006/relationships/image" Target="../media/image46.png"/><Relationship Id="rId4" Type="http://schemas.openxmlformats.org/officeDocument/2006/relationships/tags" Target="../tags/tag350.xml"/><Relationship Id="rId9" Type="http://schemas.openxmlformats.org/officeDocument/2006/relationships/image" Target="../media/image57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359.xml"/><Relationship Id="rId13" Type="http://schemas.openxmlformats.org/officeDocument/2006/relationships/image" Target="../media/image58.png"/><Relationship Id="rId3" Type="http://schemas.openxmlformats.org/officeDocument/2006/relationships/tags" Target="../tags/tag354.xml"/><Relationship Id="rId7" Type="http://schemas.openxmlformats.org/officeDocument/2006/relationships/tags" Target="../tags/tag358.xml"/><Relationship Id="rId12" Type="http://schemas.openxmlformats.org/officeDocument/2006/relationships/image" Target="../media/image57.png"/><Relationship Id="rId2" Type="http://schemas.openxmlformats.org/officeDocument/2006/relationships/tags" Target="../tags/tag353.xml"/><Relationship Id="rId1" Type="http://schemas.openxmlformats.org/officeDocument/2006/relationships/tags" Target="../tags/tag352.xml"/><Relationship Id="rId6" Type="http://schemas.openxmlformats.org/officeDocument/2006/relationships/tags" Target="../tags/tag357.xml"/><Relationship Id="rId11" Type="http://schemas.openxmlformats.org/officeDocument/2006/relationships/image" Target="../media/image19.svg"/><Relationship Id="rId5" Type="http://schemas.openxmlformats.org/officeDocument/2006/relationships/tags" Target="../tags/tag356.xml"/><Relationship Id="rId15" Type="http://schemas.openxmlformats.org/officeDocument/2006/relationships/image" Target="../media/image60.png"/><Relationship Id="rId10" Type="http://schemas.openxmlformats.org/officeDocument/2006/relationships/image" Target="../media/image18.png"/><Relationship Id="rId4" Type="http://schemas.openxmlformats.org/officeDocument/2006/relationships/tags" Target="../tags/tag355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59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367.xml"/><Relationship Id="rId13" Type="http://schemas.openxmlformats.org/officeDocument/2006/relationships/image" Target="../media/image59.png"/><Relationship Id="rId3" Type="http://schemas.openxmlformats.org/officeDocument/2006/relationships/tags" Target="../tags/tag362.xml"/><Relationship Id="rId7" Type="http://schemas.openxmlformats.org/officeDocument/2006/relationships/tags" Target="../tags/tag366.xml"/><Relationship Id="rId12" Type="http://schemas.openxmlformats.org/officeDocument/2006/relationships/image" Target="../media/image58.png"/><Relationship Id="rId2" Type="http://schemas.openxmlformats.org/officeDocument/2006/relationships/tags" Target="../tags/tag361.xml"/><Relationship Id="rId1" Type="http://schemas.openxmlformats.org/officeDocument/2006/relationships/tags" Target="../tags/tag360.xml"/><Relationship Id="rId6" Type="http://schemas.openxmlformats.org/officeDocument/2006/relationships/tags" Target="../tags/tag365.xml"/><Relationship Id="rId11" Type="http://schemas.openxmlformats.org/officeDocument/2006/relationships/image" Target="../media/image19.svg"/><Relationship Id="rId5" Type="http://schemas.openxmlformats.org/officeDocument/2006/relationships/tags" Target="../tags/tag364.xml"/><Relationship Id="rId15" Type="http://schemas.openxmlformats.org/officeDocument/2006/relationships/image" Target="../media/image61.png"/><Relationship Id="rId10" Type="http://schemas.openxmlformats.org/officeDocument/2006/relationships/image" Target="../media/image18.png"/><Relationship Id="rId4" Type="http://schemas.openxmlformats.org/officeDocument/2006/relationships/tags" Target="../tags/tag363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60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370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9.svg"/><Relationship Id="rId2" Type="http://schemas.openxmlformats.org/officeDocument/2006/relationships/tags" Target="../tags/tag369.xml"/><Relationship Id="rId1" Type="http://schemas.openxmlformats.org/officeDocument/2006/relationships/tags" Target="../tags/tag368.xml"/><Relationship Id="rId6" Type="http://schemas.openxmlformats.org/officeDocument/2006/relationships/tags" Target="../tags/tag373.xml"/><Relationship Id="rId11" Type="http://schemas.openxmlformats.org/officeDocument/2006/relationships/image" Target="../media/image8.png"/><Relationship Id="rId5" Type="http://schemas.openxmlformats.org/officeDocument/2006/relationships/tags" Target="../tags/tag372.xml"/><Relationship Id="rId10" Type="http://schemas.openxmlformats.org/officeDocument/2006/relationships/image" Target="../media/image7.svg"/><Relationship Id="rId4" Type="http://schemas.openxmlformats.org/officeDocument/2006/relationships/tags" Target="../tags/tag371.xml"/><Relationship Id="rId9" Type="http://schemas.openxmlformats.org/officeDocument/2006/relationships/image" Target="../media/image6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381.xml"/><Relationship Id="rId13" Type="http://schemas.openxmlformats.org/officeDocument/2006/relationships/image" Target="../media/image29.svg"/><Relationship Id="rId3" Type="http://schemas.openxmlformats.org/officeDocument/2006/relationships/tags" Target="../tags/tag376.xml"/><Relationship Id="rId7" Type="http://schemas.openxmlformats.org/officeDocument/2006/relationships/tags" Target="../tags/tag380.xml"/><Relationship Id="rId12" Type="http://schemas.openxmlformats.org/officeDocument/2006/relationships/image" Target="../media/image15.png"/><Relationship Id="rId2" Type="http://schemas.openxmlformats.org/officeDocument/2006/relationships/tags" Target="../tags/tag375.xml"/><Relationship Id="rId16" Type="http://schemas.openxmlformats.org/officeDocument/2006/relationships/image" Target="../media/image42.png"/><Relationship Id="rId1" Type="http://schemas.openxmlformats.org/officeDocument/2006/relationships/tags" Target="../tags/tag374.xml"/><Relationship Id="rId6" Type="http://schemas.openxmlformats.org/officeDocument/2006/relationships/tags" Target="../tags/tag379.xml"/><Relationship Id="rId11" Type="http://schemas.openxmlformats.org/officeDocument/2006/relationships/image" Target="../media/image5.jpeg"/><Relationship Id="rId5" Type="http://schemas.openxmlformats.org/officeDocument/2006/relationships/tags" Target="../tags/tag378.xml"/><Relationship Id="rId15" Type="http://schemas.openxmlformats.org/officeDocument/2006/relationships/image" Target="../media/image41.svg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377.xml"/><Relationship Id="rId9" Type="http://schemas.openxmlformats.org/officeDocument/2006/relationships/tags" Target="../tags/tag382.xml"/><Relationship Id="rId14" Type="http://schemas.openxmlformats.org/officeDocument/2006/relationships/image" Target="../media/image40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390.xml"/><Relationship Id="rId13" Type="http://schemas.openxmlformats.org/officeDocument/2006/relationships/image" Target="../media/image18.png"/><Relationship Id="rId3" Type="http://schemas.openxmlformats.org/officeDocument/2006/relationships/tags" Target="../tags/tag385.xml"/><Relationship Id="rId7" Type="http://schemas.openxmlformats.org/officeDocument/2006/relationships/tags" Target="../tags/tag389.xml"/><Relationship Id="rId12" Type="http://schemas.openxmlformats.org/officeDocument/2006/relationships/slideLayout" Target="../slideLayouts/slideLayout7.xml"/><Relationship Id="rId2" Type="http://schemas.openxmlformats.org/officeDocument/2006/relationships/tags" Target="../tags/tag384.xml"/><Relationship Id="rId1" Type="http://schemas.openxmlformats.org/officeDocument/2006/relationships/tags" Target="../tags/tag383.xml"/><Relationship Id="rId6" Type="http://schemas.openxmlformats.org/officeDocument/2006/relationships/tags" Target="../tags/tag388.xml"/><Relationship Id="rId11" Type="http://schemas.openxmlformats.org/officeDocument/2006/relationships/tags" Target="../tags/tag393.xml"/><Relationship Id="rId5" Type="http://schemas.openxmlformats.org/officeDocument/2006/relationships/tags" Target="../tags/tag387.xml"/><Relationship Id="rId15" Type="http://schemas.openxmlformats.org/officeDocument/2006/relationships/image" Target="../media/image62.jpeg"/><Relationship Id="rId10" Type="http://schemas.openxmlformats.org/officeDocument/2006/relationships/tags" Target="../tags/tag392.xml"/><Relationship Id="rId4" Type="http://schemas.openxmlformats.org/officeDocument/2006/relationships/tags" Target="../tags/tag386.xml"/><Relationship Id="rId9" Type="http://schemas.openxmlformats.org/officeDocument/2006/relationships/tags" Target="../tags/tag391.xml"/><Relationship Id="rId14" Type="http://schemas.openxmlformats.org/officeDocument/2006/relationships/image" Target="../media/image19.sv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96.xml"/><Relationship Id="rId7" Type="http://schemas.openxmlformats.org/officeDocument/2006/relationships/image" Target="../media/image18.png"/><Relationship Id="rId2" Type="http://schemas.openxmlformats.org/officeDocument/2006/relationships/tags" Target="../tags/tag395.xml"/><Relationship Id="rId1" Type="http://schemas.openxmlformats.org/officeDocument/2006/relationships/tags" Target="../tags/tag394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98.xml"/><Relationship Id="rId4" Type="http://schemas.openxmlformats.org/officeDocument/2006/relationships/tags" Target="../tags/tag397.xml"/><Relationship Id="rId9" Type="http://schemas.openxmlformats.org/officeDocument/2006/relationships/image" Target="../media/image62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image" Target="../media/image16.svg"/><Relationship Id="rId3" Type="http://schemas.openxmlformats.org/officeDocument/2006/relationships/tags" Target="../tags/tag29.xml"/><Relationship Id="rId21" Type="http://schemas.openxmlformats.org/officeDocument/2006/relationships/image" Target="../media/image19.svg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image" Target="../media/image15.png"/><Relationship Id="rId2" Type="http://schemas.openxmlformats.org/officeDocument/2006/relationships/tags" Target="../tags/tag28.xml"/><Relationship Id="rId16" Type="http://schemas.openxmlformats.org/officeDocument/2006/relationships/image" Target="../media/image5.jpeg"/><Relationship Id="rId20" Type="http://schemas.openxmlformats.org/officeDocument/2006/relationships/image" Target="../media/image18.png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36.xml"/><Relationship Id="rId19" Type="http://schemas.openxmlformats.org/officeDocument/2006/relationships/image" Target="../media/image17.png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image" Target="../media/image20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01.xml"/><Relationship Id="rId7" Type="http://schemas.openxmlformats.org/officeDocument/2006/relationships/image" Target="../media/image18.png"/><Relationship Id="rId2" Type="http://schemas.openxmlformats.org/officeDocument/2006/relationships/tags" Target="../tags/tag400.xml"/><Relationship Id="rId1" Type="http://schemas.openxmlformats.org/officeDocument/2006/relationships/tags" Target="../tags/tag399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03.xml"/><Relationship Id="rId4" Type="http://schemas.openxmlformats.org/officeDocument/2006/relationships/tags" Target="../tags/tag402.xml"/><Relationship Id="rId9" Type="http://schemas.openxmlformats.org/officeDocument/2006/relationships/image" Target="../media/image63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06.xml"/><Relationship Id="rId7" Type="http://schemas.openxmlformats.org/officeDocument/2006/relationships/image" Target="../media/image18.png"/><Relationship Id="rId2" Type="http://schemas.openxmlformats.org/officeDocument/2006/relationships/tags" Target="../tags/tag405.xml"/><Relationship Id="rId1" Type="http://schemas.openxmlformats.org/officeDocument/2006/relationships/tags" Target="../tags/tag404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08.xml"/><Relationship Id="rId10" Type="http://schemas.openxmlformats.org/officeDocument/2006/relationships/image" Target="../media/image64.jpeg"/><Relationship Id="rId4" Type="http://schemas.openxmlformats.org/officeDocument/2006/relationships/tags" Target="../tags/tag407.xml"/><Relationship Id="rId9" Type="http://schemas.openxmlformats.org/officeDocument/2006/relationships/image" Target="../media/image33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11.xml"/><Relationship Id="rId7" Type="http://schemas.openxmlformats.org/officeDocument/2006/relationships/image" Target="../media/image18.png"/><Relationship Id="rId2" Type="http://schemas.openxmlformats.org/officeDocument/2006/relationships/tags" Target="../tags/tag410.xml"/><Relationship Id="rId1" Type="http://schemas.openxmlformats.org/officeDocument/2006/relationships/tags" Target="../tags/tag409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13.xml"/><Relationship Id="rId4" Type="http://schemas.openxmlformats.org/officeDocument/2006/relationships/tags" Target="../tags/tag412.xml"/><Relationship Id="rId9" Type="http://schemas.openxmlformats.org/officeDocument/2006/relationships/image" Target="../media/image65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421.xml"/><Relationship Id="rId13" Type="http://schemas.openxmlformats.org/officeDocument/2006/relationships/image" Target="../media/image19.svg"/><Relationship Id="rId3" Type="http://schemas.openxmlformats.org/officeDocument/2006/relationships/tags" Target="../tags/tag416.xml"/><Relationship Id="rId7" Type="http://schemas.openxmlformats.org/officeDocument/2006/relationships/tags" Target="../tags/tag420.xml"/><Relationship Id="rId12" Type="http://schemas.openxmlformats.org/officeDocument/2006/relationships/image" Target="../media/image18.png"/><Relationship Id="rId2" Type="http://schemas.openxmlformats.org/officeDocument/2006/relationships/tags" Target="../tags/tag415.xml"/><Relationship Id="rId1" Type="http://schemas.openxmlformats.org/officeDocument/2006/relationships/tags" Target="../tags/tag414.xml"/><Relationship Id="rId6" Type="http://schemas.openxmlformats.org/officeDocument/2006/relationships/tags" Target="../tags/tag419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418.xml"/><Relationship Id="rId10" Type="http://schemas.openxmlformats.org/officeDocument/2006/relationships/tags" Target="../tags/tag423.xml"/><Relationship Id="rId4" Type="http://schemas.openxmlformats.org/officeDocument/2006/relationships/tags" Target="../tags/tag417.xml"/><Relationship Id="rId9" Type="http://schemas.openxmlformats.org/officeDocument/2006/relationships/tags" Target="../tags/tag422.xml"/><Relationship Id="rId14" Type="http://schemas.openxmlformats.org/officeDocument/2006/relationships/image" Target="../media/image66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26.xml"/><Relationship Id="rId7" Type="http://schemas.openxmlformats.org/officeDocument/2006/relationships/image" Target="../media/image18.png"/><Relationship Id="rId2" Type="http://schemas.openxmlformats.org/officeDocument/2006/relationships/tags" Target="../tags/tag425.xml"/><Relationship Id="rId1" Type="http://schemas.openxmlformats.org/officeDocument/2006/relationships/tags" Target="../tags/tag424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28.xml"/><Relationship Id="rId4" Type="http://schemas.openxmlformats.org/officeDocument/2006/relationships/tags" Target="../tags/tag427.xml"/><Relationship Id="rId9" Type="http://schemas.openxmlformats.org/officeDocument/2006/relationships/image" Target="../media/image62.jpe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31.xml"/><Relationship Id="rId7" Type="http://schemas.openxmlformats.org/officeDocument/2006/relationships/image" Target="../media/image18.png"/><Relationship Id="rId2" Type="http://schemas.openxmlformats.org/officeDocument/2006/relationships/tags" Target="../tags/tag430.xml"/><Relationship Id="rId1" Type="http://schemas.openxmlformats.org/officeDocument/2006/relationships/tags" Target="../tags/tag429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33.xml"/><Relationship Id="rId4" Type="http://schemas.openxmlformats.org/officeDocument/2006/relationships/tags" Target="../tags/tag432.xml"/><Relationship Id="rId9" Type="http://schemas.openxmlformats.org/officeDocument/2006/relationships/image" Target="../media/image63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36.xml"/><Relationship Id="rId7" Type="http://schemas.openxmlformats.org/officeDocument/2006/relationships/image" Target="../media/image18.png"/><Relationship Id="rId2" Type="http://schemas.openxmlformats.org/officeDocument/2006/relationships/tags" Target="../tags/tag435.xml"/><Relationship Id="rId1" Type="http://schemas.openxmlformats.org/officeDocument/2006/relationships/tags" Target="../tags/tag434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38.xml"/><Relationship Id="rId10" Type="http://schemas.openxmlformats.org/officeDocument/2006/relationships/image" Target="../media/image64.jpeg"/><Relationship Id="rId4" Type="http://schemas.openxmlformats.org/officeDocument/2006/relationships/tags" Target="../tags/tag437.xml"/><Relationship Id="rId9" Type="http://schemas.openxmlformats.org/officeDocument/2006/relationships/image" Target="../media/image33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41.xml"/><Relationship Id="rId7" Type="http://schemas.openxmlformats.org/officeDocument/2006/relationships/image" Target="../media/image18.png"/><Relationship Id="rId2" Type="http://schemas.openxmlformats.org/officeDocument/2006/relationships/tags" Target="../tags/tag440.xml"/><Relationship Id="rId1" Type="http://schemas.openxmlformats.org/officeDocument/2006/relationships/tags" Target="../tags/tag439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43.xml"/><Relationship Id="rId4" Type="http://schemas.openxmlformats.org/officeDocument/2006/relationships/tags" Target="../tags/tag442.xml"/><Relationship Id="rId9" Type="http://schemas.openxmlformats.org/officeDocument/2006/relationships/image" Target="../media/image65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tags" Target="../tags/tag451.xml"/><Relationship Id="rId13" Type="http://schemas.openxmlformats.org/officeDocument/2006/relationships/image" Target="../media/image19.svg"/><Relationship Id="rId3" Type="http://schemas.openxmlformats.org/officeDocument/2006/relationships/tags" Target="../tags/tag446.xml"/><Relationship Id="rId7" Type="http://schemas.openxmlformats.org/officeDocument/2006/relationships/tags" Target="../tags/tag450.xml"/><Relationship Id="rId12" Type="http://schemas.openxmlformats.org/officeDocument/2006/relationships/image" Target="../media/image18.png"/><Relationship Id="rId2" Type="http://schemas.openxmlformats.org/officeDocument/2006/relationships/tags" Target="../tags/tag445.xml"/><Relationship Id="rId1" Type="http://schemas.openxmlformats.org/officeDocument/2006/relationships/tags" Target="../tags/tag444.xml"/><Relationship Id="rId6" Type="http://schemas.openxmlformats.org/officeDocument/2006/relationships/tags" Target="../tags/tag449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448.xml"/><Relationship Id="rId10" Type="http://schemas.openxmlformats.org/officeDocument/2006/relationships/tags" Target="../tags/tag453.xml"/><Relationship Id="rId4" Type="http://schemas.openxmlformats.org/officeDocument/2006/relationships/tags" Target="../tags/tag447.xml"/><Relationship Id="rId9" Type="http://schemas.openxmlformats.org/officeDocument/2006/relationships/tags" Target="../tags/tag452.xml"/><Relationship Id="rId14" Type="http://schemas.openxmlformats.org/officeDocument/2006/relationships/image" Target="../media/image66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456.xml"/><Relationship Id="rId7" Type="http://schemas.openxmlformats.org/officeDocument/2006/relationships/tags" Target="../tags/tag460.xml"/><Relationship Id="rId2" Type="http://schemas.openxmlformats.org/officeDocument/2006/relationships/tags" Target="../tags/tag455.xml"/><Relationship Id="rId1" Type="http://schemas.openxmlformats.org/officeDocument/2006/relationships/tags" Target="../tags/tag454.xml"/><Relationship Id="rId6" Type="http://schemas.openxmlformats.org/officeDocument/2006/relationships/tags" Target="../tags/tag459.xml"/><Relationship Id="rId11" Type="http://schemas.openxmlformats.org/officeDocument/2006/relationships/image" Target="../media/image62.jpeg"/><Relationship Id="rId5" Type="http://schemas.openxmlformats.org/officeDocument/2006/relationships/tags" Target="../tags/tag458.xml"/><Relationship Id="rId10" Type="http://schemas.openxmlformats.org/officeDocument/2006/relationships/image" Target="../media/image19.svg"/><Relationship Id="rId4" Type="http://schemas.openxmlformats.org/officeDocument/2006/relationships/tags" Target="../tags/tag457.xml"/><Relationship Id="rId9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image" Target="../media/image21.jpeg"/><Relationship Id="rId3" Type="http://schemas.openxmlformats.org/officeDocument/2006/relationships/tags" Target="../tags/tag43.xml"/><Relationship Id="rId21" Type="http://schemas.openxmlformats.org/officeDocument/2006/relationships/tags" Target="../tags/tag61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image" Target="../media/image16.svg"/><Relationship Id="rId33" Type="http://schemas.openxmlformats.org/officeDocument/2006/relationships/image" Target="../media/image28.png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image" Target="../media/image24.png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image" Target="../media/image15.png"/><Relationship Id="rId32" Type="http://schemas.openxmlformats.org/officeDocument/2006/relationships/image" Target="../media/image27.png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image" Target="../media/image5.jpeg"/><Relationship Id="rId28" Type="http://schemas.openxmlformats.org/officeDocument/2006/relationships/image" Target="../media/image23.png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31" Type="http://schemas.openxmlformats.org/officeDocument/2006/relationships/image" Target="../media/image26.jpeg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slideLayout" Target="../slideLayouts/slideLayout7.xml"/><Relationship Id="rId27" Type="http://schemas.openxmlformats.org/officeDocument/2006/relationships/image" Target="../media/image22.png"/><Relationship Id="rId30" Type="http://schemas.openxmlformats.org/officeDocument/2006/relationships/image" Target="../media/image25.jpeg"/><Relationship Id="rId8" Type="http://schemas.openxmlformats.org/officeDocument/2006/relationships/tags" Target="../tags/tag48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63.xml"/><Relationship Id="rId7" Type="http://schemas.openxmlformats.org/officeDocument/2006/relationships/image" Target="../media/image18.png"/><Relationship Id="rId2" Type="http://schemas.openxmlformats.org/officeDocument/2006/relationships/tags" Target="../tags/tag462.xml"/><Relationship Id="rId1" Type="http://schemas.openxmlformats.org/officeDocument/2006/relationships/tags" Target="../tags/tag46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65.xml"/><Relationship Id="rId4" Type="http://schemas.openxmlformats.org/officeDocument/2006/relationships/tags" Target="../tags/tag464.xml"/><Relationship Id="rId9" Type="http://schemas.openxmlformats.org/officeDocument/2006/relationships/image" Target="../media/image63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68.xml"/><Relationship Id="rId7" Type="http://schemas.openxmlformats.org/officeDocument/2006/relationships/image" Target="../media/image18.png"/><Relationship Id="rId2" Type="http://schemas.openxmlformats.org/officeDocument/2006/relationships/tags" Target="../tags/tag467.xml"/><Relationship Id="rId1" Type="http://schemas.openxmlformats.org/officeDocument/2006/relationships/tags" Target="../tags/tag466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70.xml"/><Relationship Id="rId10" Type="http://schemas.openxmlformats.org/officeDocument/2006/relationships/image" Target="../media/image64.jpeg"/><Relationship Id="rId4" Type="http://schemas.openxmlformats.org/officeDocument/2006/relationships/tags" Target="../tags/tag469.xml"/><Relationship Id="rId9" Type="http://schemas.openxmlformats.org/officeDocument/2006/relationships/image" Target="../media/image33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73.xml"/><Relationship Id="rId7" Type="http://schemas.openxmlformats.org/officeDocument/2006/relationships/image" Target="../media/image18.png"/><Relationship Id="rId2" Type="http://schemas.openxmlformats.org/officeDocument/2006/relationships/tags" Target="../tags/tag472.xml"/><Relationship Id="rId1" Type="http://schemas.openxmlformats.org/officeDocument/2006/relationships/tags" Target="../tags/tag47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75.xml"/><Relationship Id="rId4" Type="http://schemas.openxmlformats.org/officeDocument/2006/relationships/tags" Target="../tags/tag474.xml"/><Relationship Id="rId9" Type="http://schemas.openxmlformats.org/officeDocument/2006/relationships/image" Target="../media/image65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tags" Target="../tags/tag483.xml"/><Relationship Id="rId13" Type="http://schemas.openxmlformats.org/officeDocument/2006/relationships/image" Target="../media/image19.svg"/><Relationship Id="rId3" Type="http://schemas.openxmlformats.org/officeDocument/2006/relationships/tags" Target="../tags/tag478.xml"/><Relationship Id="rId7" Type="http://schemas.openxmlformats.org/officeDocument/2006/relationships/tags" Target="../tags/tag482.xml"/><Relationship Id="rId12" Type="http://schemas.openxmlformats.org/officeDocument/2006/relationships/image" Target="../media/image18.png"/><Relationship Id="rId2" Type="http://schemas.openxmlformats.org/officeDocument/2006/relationships/tags" Target="../tags/tag477.xml"/><Relationship Id="rId1" Type="http://schemas.openxmlformats.org/officeDocument/2006/relationships/tags" Target="../tags/tag476.xml"/><Relationship Id="rId6" Type="http://schemas.openxmlformats.org/officeDocument/2006/relationships/tags" Target="../tags/tag481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480.xml"/><Relationship Id="rId10" Type="http://schemas.openxmlformats.org/officeDocument/2006/relationships/tags" Target="../tags/tag485.xml"/><Relationship Id="rId4" Type="http://schemas.openxmlformats.org/officeDocument/2006/relationships/tags" Target="../tags/tag479.xml"/><Relationship Id="rId9" Type="http://schemas.openxmlformats.org/officeDocument/2006/relationships/tags" Target="../tags/tag484.xml"/><Relationship Id="rId14" Type="http://schemas.openxmlformats.org/officeDocument/2006/relationships/image" Target="../media/image66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88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487.xml"/><Relationship Id="rId1" Type="http://schemas.openxmlformats.org/officeDocument/2006/relationships/tags" Target="../tags/tag486.xml"/><Relationship Id="rId6" Type="http://schemas.openxmlformats.org/officeDocument/2006/relationships/tags" Target="../tags/tag491.xml"/><Relationship Id="rId11" Type="http://schemas.openxmlformats.org/officeDocument/2006/relationships/image" Target="../media/image67.png"/><Relationship Id="rId5" Type="http://schemas.openxmlformats.org/officeDocument/2006/relationships/tags" Target="../tags/tag490.xml"/><Relationship Id="rId10" Type="http://schemas.openxmlformats.org/officeDocument/2006/relationships/image" Target="../media/image32.png"/><Relationship Id="rId4" Type="http://schemas.openxmlformats.org/officeDocument/2006/relationships/tags" Target="../tags/tag489.xml"/><Relationship Id="rId9" Type="http://schemas.openxmlformats.org/officeDocument/2006/relationships/image" Target="../media/image19.sv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94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493.xml"/><Relationship Id="rId1" Type="http://schemas.openxmlformats.org/officeDocument/2006/relationships/tags" Target="../tags/tag492.xml"/><Relationship Id="rId6" Type="http://schemas.openxmlformats.org/officeDocument/2006/relationships/tags" Target="../tags/tag497.xml"/><Relationship Id="rId11" Type="http://schemas.openxmlformats.org/officeDocument/2006/relationships/image" Target="../media/image39.png"/><Relationship Id="rId5" Type="http://schemas.openxmlformats.org/officeDocument/2006/relationships/tags" Target="../tags/tag496.xml"/><Relationship Id="rId10" Type="http://schemas.openxmlformats.org/officeDocument/2006/relationships/image" Target="../media/image64.jpeg"/><Relationship Id="rId4" Type="http://schemas.openxmlformats.org/officeDocument/2006/relationships/tags" Target="../tags/tag495.xml"/><Relationship Id="rId9" Type="http://schemas.openxmlformats.org/officeDocument/2006/relationships/image" Target="../media/image19.sv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tags" Target="../tags/tag505.xml"/><Relationship Id="rId13" Type="http://schemas.openxmlformats.org/officeDocument/2006/relationships/image" Target="../media/image19.svg"/><Relationship Id="rId3" Type="http://schemas.openxmlformats.org/officeDocument/2006/relationships/tags" Target="../tags/tag500.xml"/><Relationship Id="rId7" Type="http://schemas.openxmlformats.org/officeDocument/2006/relationships/tags" Target="../tags/tag504.xml"/><Relationship Id="rId12" Type="http://schemas.openxmlformats.org/officeDocument/2006/relationships/image" Target="../media/image18.png"/><Relationship Id="rId2" Type="http://schemas.openxmlformats.org/officeDocument/2006/relationships/tags" Target="../tags/tag499.xml"/><Relationship Id="rId1" Type="http://schemas.openxmlformats.org/officeDocument/2006/relationships/tags" Target="../tags/tag498.xml"/><Relationship Id="rId6" Type="http://schemas.openxmlformats.org/officeDocument/2006/relationships/tags" Target="../tags/tag503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502.xml"/><Relationship Id="rId15" Type="http://schemas.openxmlformats.org/officeDocument/2006/relationships/image" Target="../media/image68.png"/><Relationship Id="rId10" Type="http://schemas.openxmlformats.org/officeDocument/2006/relationships/tags" Target="../tags/tag507.xml"/><Relationship Id="rId4" Type="http://schemas.openxmlformats.org/officeDocument/2006/relationships/tags" Target="../tags/tag501.xml"/><Relationship Id="rId9" Type="http://schemas.openxmlformats.org/officeDocument/2006/relationships/tags" Target="../tags/tag506.xml"/><Relationship Id="rId14" Type="http://schemas.openxmlformats.org/officeDocument/2006/relationships/image" Target="../media/image26.jpe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tags" Target="../tags/tag515.xml"/><Relationship Id="rId13" Type="http://schemas.openxmlformats.org/officeDocument/2006/relationships/image" Target="../media/image19.svg"/><Relationship Id="rId3" Type="http://schemas.openxmlformats.org/officeDocument/2006/relationships/tags" Target="../tags/tag510.xml"/><Relationship Id="rId7" Type="http://schemas.openxmlformats.org/officeDocument/2006/relationships/tags" Target="../tags/tag514.xml"/><Relationship Id="rId12" Type="http://schemas.openxmlformats.org/officeDocument/2006/relationships/image" Target="../media/image18.png"/><Relationship Id="rId2" Type="http://schemas.openxmlformats.org/officeDocument/2006/relationships/tags" Target="../tags/tag509.xml"/><Relationship Id="rId1" Type="http://schemas.openxmlformats.org/officeDocument/2006/relationships/tags" Target="../tags/tag508.xml"/><Relationship Id="rId6" Type="http://schemas.openxmlformats.org/officeDocument/2006/relationships/tags" Target="../tags/tag513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512.xml"/><Relationship Id="rId15" Type="http://schemas.openxmlformats.org/officeDocument/2006/relationships/image" Target="../media/image69.png"/><Relationship Id="rId10" Type="http://schemas.openxmlformats.org/officeDocument/2006/relationships/tags" Target="../tags/tag517.xml"/><Relationship Id="rId4" Type="http://schemas.openxmlformats.org/officeDocument/2006/relationships/tags" Target="../tags/tag511.xml"/><Relationship Id="rId9" Type="http://schemas.openxmlformats.org/officeDocument/2006/relationships/tags" Target="../tags/tag516.xml"/><Relationship Id="rId14" Type="http://schemas.openxmlformats.org/officeDocument/2006/relationships/image" Target="../media/image26.jpe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tags" Target="../tags/tag523.xml"/><Relationship Id="rId13" Type="http://schemas.openxmlformats.org/officeDocument/2006/relationships/tags" Target="../tags/tag528.xml"/><Relationship Id="rId18" Type="http://schemas.openxmlformats.org/officeDocument/2006/relationships/image" Target="../media/image49.png"/><Relationship Id="rId3" Type="http://schemas.openxmlformats.org/officeDocument/2006/relationships/tags" Target="../tags/tag520.xml"/><Relationship Id="rId7" Type="http://schemas.openxmlformats.org/officeDocument/2006/relationships/audio" Target="../media/media2.mp3"/><Relationship Id="rId12" Type="http://schemas.openxmlformats.org/officeDocument/2006/relationships/tags" Target="../tags/tag527.xml"/><Relationship Id="rId17" Type="http://schemas.openxmlformats.org/officeDocument/2006/relationships/image" Target="../media/image70.gif"/><Relationship Id="rId2" Type="http://schemas.openxmlformats.org/officeDocument/2006/relationships/tags" Target="../tags/tag519.xml"/><Relationship Id="rId16" Type="http://schemas.openxmlformats.org/officeDocument/2006/relationships/image" Target="../media/image19.svg"/><Relationship Id="rId1" Type="http://schemas.openxmlformats.org/officeDocument/2006/relationships/tags" Target="../tags/tag518.xml"/><Relationship Id="rId6" Type="http://schemas.microsoft.com/office/2007/relationships/media" Target="../media/media2.mp3"/><Relationship Id="rId11" Type="http://schemas.openxmlformats.org/officeDocument/2006/relationships/tags" Target="../tags/tag526.xml"/><Relationship Id="rId5" Type="http://schemas.openxmlformats.org/officeDocument/2006/relationships/tags" Target="../tags/tag522.xml"/><Relationship Id="rId15" Type="http://schemas.openxmlformats.org/officeDocument/2006/relationships/image" Target="../media/image18.png"/><Relationship Id="rId10" Type="http://schemas.openxmlformats.org/officeDocument/2006/relationships/tags" Target="../tags/tag525.xml"/><Relationship Id="rId4" Type="http://schemas.openxmlformats.org/officeDocument/2006/relationships/tags" Target="../tags/tag521.xml"/><Relationship Id="rId9" Type="http://schemas.openxmlformats.org/officeDocument/2006/relationships/tags" Target="../tags/tag524.xml"/><Relationship Id="rId14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tags" Target="../tags/tag536.xml"/><Relationship Id="rId13" Type="http://schemas.openxmlformats.org/officeDocument/2006/relationships/tags" Target="../tags/tag541.xml"/><Relationship Id="rId18" Type="http://schemas.openxmlformats.org/officeDocument/2006/relationships/image" Target="../media/image54.jpeg"/><Relationship Id="rId3" Type="http://schemas.openxmlformats.org/officeDocument/2006/relationships/tags" Target="../tags/tag531.xml"/><Relationship Id="rId21" Type="http://schemas.microsoft.com/office/2007/relationships/hdphoto" Target="../media/hdphoto1.wdp"/><Relationship Id="rId7" Type="http://schemas.openxmlformats.org/officeDocument/2006/relationships/tags" Target="../tags/tag535.xml"/><Relationship Id="rId12" Type="http://schemas.openxmlformats.org/officeDocument/2006/relationships/tags" Target="../tags/tag540.xml"/><Relationship Id="rId17" Type="http://schemas.openxmlformats.org/officeDocument/2006/relationships/image" Target="../media/image71.jpg"/><Relationship Id="rId2" Type="http://schemas.openxmlformats.org/officeDocument/2006/relationships/tags" Target="../tags/tag530.xml"/><Relationship Id="rId16" Type="http://schemas.openxmlformats.org/officeDocument/2006/relationships/image" Target="../media/image19.svg"/><Relationship Id="rId20" Type="http://schemas.openxmlformats.org/officeDocument/2006/relationships/image" Target="../media/image73.png"/><Relationship Id="rId1" Type="http://schemas.openxmlformats.org/officeDocument/2006/relationships/tags" Target="../tags/tag529.xml"/><Relationship Id="rId6" Type="http://schemas.openxmlformats.org/officeDocument/2006/relationships/tags" Target="../tags/tag534.xml"/><Relationship Id="rId11" Type="http://schemas.openxmlformats.org/officeDocument/2006/relationships/tags" Target="../tags/tag539.xml"/><Relationship Id="rId5" Type="http://schemas.openxmlformats.org/officeDocument/2006/relationships/tags" Target="../tags/tag533.xml"/><Relationship Id="rId15" Type="http://schemas.openxmlformats.org/officeDocument/2006/relationships/image" Target="../media/image18.png"/><Relationship Id="rId10" Type="http://schemas.openxmlformats.org/officeDocument/2006/relationships/tags" Target="../tags/tag538.xml"/><Relationship Id="rId19" Type="http://schemas.openxmlformats.org/officeDocument/2006/relationships/image" Target="../media/image72.jpg"/><Relationship Id="rId4" Type="http://schemas.openxmlformats.org/officeDocument/2006/relationships/tags" Target="../tags/tag532.xml"/><Relationship Id="rId9" Type="http://schemas.openxmlformats.org/officeDocument/2006/relationships/tags" Target="../tags/tag537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7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26" Type="http://schemas.openxmlformats.org/officeDocument/2006/relationships/image" Target="../media/image13.png"/><Relationship Id="rId3" Type="http://schemas.openxmlformats.org/officeDocument/2006/relationships/tags" Target="../tags/tag64.xml"/><Relationship Id="rId21" Type="http://schemas.openxmlformats.org/officeDocument/2006/relationships/tags" Target="../tags/tag82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image" Target="../media/image29.svg"/><Relationship Id="rId2" Type="http://schemas.openxmlformats.org/officeDocument/2006/relationships/tags" Target="../tags/tag63.xml"/><Relationship Id="rId16" Type="http://schemas.openxmlformats.org/officeDocument/2006/relationships/tags" Target="../tags/tag77.xml"/><Relationship Id="rId20" Type="http://schemas.openxmlformats.org/officeDocument/2006/relationships/tags" Target="../tags/tag81.xml"/><Relationship Id="rId29" Type="http://schemas.openxmlformats.org/officeDocument/2006/relationships/image" Target="../media/image32.png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24" Type="http://schemas.openxmlformats.org/officeDocument/2006/relationships/image" Target="../media/image15.png"/><Relationship Id="rId5" Type="http://schemas.openxmlformats.org/officeDocument/2006/relationships/tags" Target="../tags/tag66.xml"/><Relationship Id="rId15" Type="http://schemas.openxmlformats.org/officeDocument/2006/relationships/tags" Target="../tags/tag76.xml"/><Relationship Id="rId23" Type="http://schemas.openxmlformats.org/officeDocument/2006/relationships/image" Target="../media/image5.jpeg"/><Relationship Id="rId28" Type="http://schemas.openxmlformats.org/officeDocument/2006/relationships/image" Target="../media/image31.png"/><Relationship Id="rId10" Type="http://schemas.openxmlformats.org/officeDocument/2006/relationships/tags" Target="../tags/tag71.xml"/><Relationship Id="rId19" Type="http://schemas.openxmlformats.org/officeDocument/2006/relationships/tags" Target="../tags/tag80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slideLayout" Target="../slideLayouts/slideLayout18.xml"/><Relationship Id="rId27" Type="http://schemas.openxmlformats.org/officeDocument/2006/relationships/image" Target="../media/image30.png"/><Relationship Id="rId30" Type="http://schemas.openxmlformats.org/officeDocument/2006/relationships/image" Target="../media/image33.png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tags" Target="../tags/tag549.xml"/><Relationship Id="rId13" Type="http://schemas.openxmlformats.org/officeDocument/2006/relationships/image" Target="../media/image43.png"/><Relationship Id="rId3" Type="http://schemas.openxmlformats.org/officeDocument/2006/relationships/tags" Target="../tags/tag544.xml"/><Relationship Id="rId7" Type="http://schemas.openxmlformats.org/officeDocument/2006/relationships/tags" Target="../tags/tag548.xml"/><Relationship Id="rId12" Type="http://schemas.openxmlformats.org/officeDocument/2006/relationships/image" Target="../media/image19.svg"/><Relationship Id="rId2" Type="http://schemas.openxmlformats.org/officeDocument/2006/relationships/tags" Target="../tags/tag543.xml"/><Relationship Id="rId1" Type="http://schemas.openxmlformats.org/officeDocument/2006/relationships/tags" Target="../tags/tag542.xml"/><Relationship Id="rId6" Type="http://schemas.openxmlformats.org/officeDocument/2006/relationships/tags" Target="../tags/tag547.xml"/><Relationship Id="rId11" Type="http://schemas.openxmlformats.org/officeDocument/2006/relationships/image" Target="../media/image18.png"/><Relationship Id="rId5" Type="http://schemas.openxmlformats.org/officeDocument/2006/relationships/tags" Target="../tags/tag546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545.xml"/><Relationship Id="rId9" Type="http://schemas.openxmlformats.org/officeDocument/2006/relationships/tags" Target="../tags/tag550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tags" Target="../tags/tag558.xml"/><Relationship Id="rId13" Type="http://schemas.openxmlformats.org/officeDocument/2006/relationships/image" Target="../media/image3.emf"/><Relationship Id="rId3" Type="http://schemas.openxmlformats.org/officeDocument/2006/relationships/tags" Target="../tags/tag553.xml"/><Relationship Id="rId7" Type="http://schemas.openxmlformats.org/officeDocument/2006/relationships/tags" Target="../tags/tag557.xml"/><Relationship Id="rId12" Type="http://schemas.openxmlformats.org/officeDocument/2006/relationships/oleObject" Target="../embeddings/oleObject2.bin"/><Relationship Id="rId2" Type="http://schemas.openxmlformats.org/officeDocument/2006/relationships/tags" Target="../tags/tag552.xml"/><Relationship Id="rId1" Type="http://schemas.openxmlformats.org/officeDocument/2006/relationships/tags" Target="../tags/tag551.xml"/><Relationship Id="rId6" Type="http://schemas.openxmlformats.org/officeDocument/2006/relationships/tags" Target="../tags/tag556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555.xml"/><Relationship Id="rId15" Type="http://schemas.openxmlformats.org/officeDocument/2006/relationships/image" Target="../media/image75.png"/><Relationship Id="rId10" Type="http://schemas.openxmlformats.org/officeDocument/2006/relationships/slideLayout" Target="../slideLayouts/slideLayout34.xml"/><Relationship Id="rId4" Type="http://schemas.openxmlformats.org/officeDocument/2006/relationships/tags" Target="../tags/tag554.xml"/><Relationship Id="rId9" Type="http://schemas.openxmlformats.org/officeDocument/2006/relationships/tags" Target="../tags/tag559.xml"/><Relationship Id="rId14" Type="http://schemas.openxmlformats.org/officeDocument/2006/relationships/hyperlink" Target="https://docs.google.com/forms/d/e/1FAIpQLSeGbEh4eCfj0ri_aqOht0VG2q1xZDER-dmv6wFZwOP759wbuA/formResponse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35.png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image" Target="../media/image34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29.svg"/><Relationship Id="rId5" Type="http://schemas.openxmlformats.org/officeDocument/2006/relationships/tags" Target="../tags/tag87.xml"/><Relationship Id="rId10" Type="http://schemas.openxmlformats.org/officeDocument/2006/relationships/image" Target="../media/image15.png"/><Relationship Id="rId4" Type="http://schemas.openxmlformats.org/officeDocument/2006/relationships/tags" Target="../tags/tag86.xml"/><Relationship Id="rId9" Type="http://schemas.openxmlformats.org/officeDocument/2006/relationships/image" Target="../media/image5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2.xml"/><Relationship Id="rId7" Type="http://schemas.openxmlformats.org/officeDocument/2006/relationships/image" Target="../media/image5.jpe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94.xml"/><Relationship Id="rId10" Type="http://schemas.openxmlformats.org/officeDocument/2006/relationships/image" Target="../media/image8.png"/><Relationship Id="rId4" Type="http://schemas.openxmlformats.org/officeDocument/2006/relationships/tags" Target="../tags/tag93.xml"/><Relationship Id="rId9" Type="http://schemas.openxmlformats.org/officeDocument/2006/relationships/image" Target="../media/image7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29.svg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image" Target="../media/image15.png"/><Relationship Id="rId5" Type="http://schemas.openxmlformats.org/officeDocument/2006/relationships/tags" Target="../tags/tag99.xml"/><Relationship Id="rId10" Type="http://schemas.openxmlformats.org/officeDocument/2006/relationships/image" Target="../media/image5.jpeg"/><Relationship Id="rId4" Type="http://schemas.openxmlformats.org/officeDocument/2006/relationships/tags" Target="../tags/tag98.xml"/><Relationship Id="rId9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4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Freeform 9"/>
          <p:cNvSpPr/>
          <p:nvPr>
            <p:custDataLst>
              <p:tags r:id="rId2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>
            <p:custDataLst>
              <p:tags r:id="rId3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Freeform 7">
            <a:extLst>
              <a:ext uri="{FF2B5EF4-FFF2-40B4-BE49-F238E27FC236}">
                <a16:creationId xmlns:a16="http://schemas.microsoft.com/office/drawing/2014/main" id="{212C47DE-24FE-3D2A-2BF4-CF85C52978E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0437500" y="2237707"/>
            <a:ext cx="2232407" cy="2382389"/>
          </a:xfrm>
          <a:custGeom>
            <a:avLst/>
            <a:gdLst/>
            <a:ahLst/>
            <a:cxnLst/>
            <a:rect l="l" t="t" r="r" b="b"/>
            <a:pathLst>
              <a:path w="1446572" h="1650653">
                <a:moveTo>
                  <a:pt x="0" y="0"/>
                </a:moveTo>
                <a:lnTo>
                  <a:pt x="1446572" y="0"/>
                </a:lnTo>
                <a:lnTo>
                  <a:pt x="1446572" y="1650653"/>
                </a:lnTo>
                <a:lnTo>
                  <a:pt x="0" y="1650653"/>
                </a:lnTo>
                <a:lnTo>
                  <a:pt x="0" y="0"/>
                </a:lnTo>
                <a:close/>
              </a:path>
            </a:pathLst>
          </a:custGeom>
          <a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B6C207-E5D2-BF11-2359-9226E7D8408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200401" y="4086296"/>
            <a:ext cx="6963158" cy="103066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5">
              <a:lnSpc>
                <a:spcPts val="7869"/>
              </a:lnSpc>
              <a:defRPr/>
            </a:pPr>
            <a:r>
              <a:rPr lang="en-US" sz="8001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Français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10F4B7C3-30C1-1BB2-02D4-6F424706D30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174729" y="2943079"/>
            <a:ext cx="2757950" cy="605935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5139"/>
              </a:lnSpc>
              <a:defRPr/>
            </a:pPr>
            <a:r>
              <a:rPr lang="en-US" sz="4001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Niveau</a:t>
            </a:r>
            <a:r>
              <a:rPr lang="en-US" sz="36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</a:t>
            </a:r>
            <a:r>
              <a:rPr lang="en-US" sz="32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  </a:t>
            </a:r>
            <a:r>
              <a:rPr lang="en-US" sz="30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</a:t>
            </a:r>
            <a:r>
              <a:rPr lang="en-US" sz="33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       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A4E4B761-C372-0F2B-E9CC-0DF7A0D44B7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867902" y="3516626"/>
            <a:ext cx="137160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45">
              <a:defRPr/>
            </a:pPr>
            <a:r>
              <a:rPr lang="en-US" sz="6000" b="1" dirty="0">
                <a:solidFill>
                  <a:srgbClr val="FCBF18"/>
                </a:solidFill>
                <a:latin typeface="Dosis Bold"/>
              </a:rPr>
              <a:t>1 </a:t>
            </a:r>
            <a:endParaRPr lang="fr-MA" sz="6000" b="1" dirty="0">
              <a:solidFill>
                <a:srgbClr val="FCBF18"/>
              </a:solidFill>
              <a:latin typeface="Dosis" pitchFamily="2" charset="0"/>
            </a:endParaRPr>
          </a:p>
        </p:txBody>
      </p:sp>
      <p:pic>
        <p:nvPicPr>
          <p:cNvPr id="8" name="Picture 2" descr="الصفحة الرئيسية">
            <a:extLst>
              <a:ext uri="{FF2B5EF4-FFF2-40B4-BE49-F238E27FC236}">
                <a16:creationId xmlns:a16="http://schemas.microsoft.com/office/drawing/2014/main" id="{C974ACDD-10FD-D838-8D0D-6B5470FEED51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8623" y="753919"/>
            <a:ext cx="6963158" cy="1055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411D2F2D-4AAE-4EEF-B851-D408755FBC0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771711" y="7148621"/>
            <a:ext cx="6172578" cy="966680"/>
          </a:xfrm>
          <a:prstGeom prst="roundRect">
            <a:avLst>
              <a:gd name="adj" fmla="val 32324"/>
            </a:avLst>
          </a:prstGeom>
          <a:solidFill>
            <a:srgbClr val="215968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D13C3FE6-2C2A-82BC-D09A-A78C99C5328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771711" y="7328993"/>
            <a:ext cx="6172578" cy="6059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5139"/>
              </a:lnSpc>
              <a:defRPr/>
            </a:pPr>
            <a:r>
              <a:rPr lang="en-US" sz="4001" dirty="0" err="1">
                <a:solidFill>
                  <a:prstClr val="white"/>
                </a:solidFill>
                <a:latin typeface="Dosis Bold"/>
              </a:rPr>
              <a:t>Semaine</a:t>
            </a:r>
            <a:r>
              <a:rPr lang="en-US" sz="4001" dirty="0">
                <a:solidFill>
                  <a:prstClr val="white"/>
                </a:solidFill>
                <a:latin typeface="Dosis Bold"/>
              </a:rPr>
              <a:t> 2 - Séance </a:t>
            </a:r>
            <a:r>
              <a:rPr lang="fr-FR" sz="4001" b="1" dirty="0">
                <a:solidFill>
                  <a:prstClr val="white"/>
                </a:solidFill>
                <a:latin typeface="Dosis Bold"/>
              </a:rPr>
              <a:t>5</a:t>
            </a:r>
            <a:endParaRPr lang="en-US" sz="4001" b="1" dirty="0">
              <a:solidFill>
                <a:prstClr val="white"/>
              </a:solidFill>
              <a:latin typeface="Dosis Bold"/>
            </a:endParaRPr>
          </a:p>
        </p:txBody>
      </p:sp>
      <p:sp>
        <p:nvSpPr>
          <p:cNvPr id="13" name="TextBox 3">
            <a:extLst>
              <a:ext uri="{FF2B5EF4-FFF2-40B4-BE49-F238E27FC236}">
                <a16:creationId xmlns:a16="http://schemas.microsoft.com/office/drawing/2014/main" id="{A3E8B26A-E360-4F3F-FCFA-79DC6106180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599772" y="5354312"/>
            <a:ext cx="8164415" cy="8932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45">
              <a:lnSpc>
                <a:spcPts val="7869"/>
              </a:lnSpc>
              <a:defRPr/>
            </a:pPr>
            <a:r>
              <a:rPr lang="en-US" sz="4400" b="1" dirty="0" err="1">
                <a:solidFill>
                  <a:srgbClr val="F79646">
                    <a:lumMod val="75000"/>
                  </a:srgbClr>
                </a:solidFill>
                <a:latin typeface="Dosis" pitchFamily="2" charset="0"/>
                <a:cs typeface="DokChampa" panose="020B0604020202020204" pitchFamily="34" charset="-34"/>
              </a:rPr>
              <a:t>Période</a:t>
            </a:r>
            <a:r>
              <a:rPr lang="en-US" sz="4400" b="1" dirty="0">
                <a:solidFill>
                  <a:srgbClr val="F79646">
                    <a:lumMod val="75000"/>
                  </a:srgbClr>
                </a:solidFill>
                <a:latin typeface="Dosis" pitchFamily="2" charset="0"/>
                <a:cs typeface="DokChampa" panose="020B0604020202020204" pitchFamily="34" charset="-34"/>
              </a:rPr>
              <a:t> 2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B17E0C8-16BE-B035-04C3-D705EA2163D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730000" y="8574280"/>
            <a:ext cx="2535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spcAft>
                <a:spcPts val="1800"/>
              </a:spcAft>
            </a:pPr>
            <a:r>
              <a:rPr lang="fr-FR" sz="2400" i="1" dirty="0">
                <a:solidFill>
                  <a:prstClr val="white">
                    <a:lumMod val="50000"/>
                  </a:prstClr>
                </a:solidFill>
                <a:latin typeface="Calibri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861699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/>
          <p:cNvSpPr txBox="1"/>
          <p:nvPr>
            <p:custDataLst>
              <p:tags r:id="rId2"/>
            </p:custDataLst>
          </p:nvPr>
        </p:nvSpPr>
        <p:spPr>
          <a:xfrm>
            <a:off x="641110" y="4460417"/>
            <a:ext cx="12769469" cy="9853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0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     Programme de la période 2</a:t>
            </a:r>
            <a:endParaRPr lang="ar-MA" sz="60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/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C1086E2-7A06-62F6-C796-804478648CE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28892481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F2AB2B-E08D-FD95-174D-B5C493127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B62C3D07-5313-E483-D4BA-5D8B351EF0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762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9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F8835C2D-3F07-748D-8E88-CE32FBAC10A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-26983"/>
            <a:ext cx="12954000" cy="9771484"/>
            <a:chOff x="0" y="-47625"/>
            <a:chExt cx="3895412" cy="2602800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D5959232-B229-B6AC-ADE5-27BA78E7320C}"/>
                </a:ext>
              </a:extLst>
            </p:cNvPr>
            <p:cNvSpPr/>
            <p:nvPr/>
          </p:nvSpPr>
          <p:spPr>
            <a:xfrm>
              <a:off x="0" y="190027"/>
              <a:ext cx="3895412" cy="2365148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D7FB049-5BEA-0DDC-E3DE-2C34D32F915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54FA5C11-2166-6EFA-09E1-A9E569F1D7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61989" y="315096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9F867EC-A436-557F-BE85-94A4D139101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67236" y="181198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ECC94E17-0C62-CC81-3A06-A8B33AC9655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09538" y="1114306"/>
            <a:ext cx="129540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spcAft>
                <a:spcPts val="1800"/>
              </a:spcAft>
              <a:defRPr/>
            </a:pPr>
            <a:r>
              <a:rPr lang="fr-FR" sz="3600" b="1" dirty="0">
                <a:solidFill>
                  <a:srgbClr val="106585"/>
                </a:solidFill>
                <a:latin typeface="Dosis" pitchFamily="2" charset="0"/>
              </a:rPr>
              <a:t>Attendus de la période 2 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231ED9A6-5C3B-580D-7650-184F1CB14D9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71806" y="8571776"/>
            <a:ext cx="13897946" cy="4750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85835">
              <a:lnSpc>
                <a:spcPts val="4199"/>
              </a:lnSpc>
              <a:defRPr/>
            </a:pP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CO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Compréhension Oral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PO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Production Oral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LF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Lecture-Fluenc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PE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Production Ecrite 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OL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Outils de Langu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2D56A02-822C-0F86-577A-60DB46E4E2B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1992208" y="1980926"/>
            <a:ext cx="9731583" cy="632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5292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F2AB2B-E08D-FD95-174D-B5C493127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B62C3D07-5313-E483-D4BA-5D8B351EF0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259080"/>
            <a:ext cx="13716000" cy="1054608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F8835C2D-3F07-748D-8E88-CE32FBAC10A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51812"/>
            <a:ext cx="12954000" cy="9592689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D5959232-B229-B6AC-ADE5-27BA78E7320C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D7FB049-5BEA-0DDC-E3DE-2C34D32F915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54FA5C11-2166-6EFA-09E1-A9E569F1D7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09539" y="-25908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9F867EC-A436-557F-BE85-94A4D139101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67236" y="-294369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A1C5B658-B5A3-9509-A0B7-C410DEE8338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083926" y="3351362"/>
            <a:ext cx="7902872" cy="4651620"/>
          </a:xfrm>
          <a:prstGeom prst="roundRect">
            <a:avLst>
              <a:gd name="adj" fmla="val 9885"/>
            </a:avLst>
          </a:prstGeom>
          <a:solidFill>
            <a:srgbClr val="FFFFCC"/>
          </a:solidFill>
          <a:ln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7B8B06D-75C4-F895-FF45-3E9EBF1A2B9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974221" y="4389093"/>
            <a:ext cx="6051113" cy="158766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1  :   C’est quoi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accent6">
                    <a:lumMod val="75000"/>
                  </a:schemeClr>
                </a:solidFill>
                <a:latin typeface="Dosis" pitchFamily="2" charset="0"/>
              </a:rPr>
              <a:t>Semaine 2 :  </a:t>
            </a:r>
            <a:r>
              <a:rPr lang="fr-FR" sz="2400" b="1" dirty="0">
                <a:solidFill>
                  <a:schemeClr val="accent1"/>
                </a:solidFill>
                <a:latin typeface="Dosis" pitchFamily="2" charset="0"/>
              </a:rPr>
              <a:t>Est-ce que tu as…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3 :   Il y a quoi dans… ?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64B3988-DB73-5A36-57CC-8242BB4DDE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915225" y="6031316"/>
            <a:ext cx="6051114" cy="15273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4 :  C’est quel jour, aujourd’hui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5 :  Tu fais quoi en classe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6 :  Révision et évaluation 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3B8EEA35-906C-F5B1-42FC-BFFBD1ED65A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09538" y="1609842"/>
            <a:ext cx="12954000" cy="12599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spcAft>
                <a:spcPts val="1800"/>
              </a:spcAft>
              <a:defRPr/>
            </a:pPr>
            <a:r>
              <a:rPr lang="fr-FR" sz="3300" b="1" dirty="0">
                <a:solidFill>
                  <a:srgbClr val="106585"/>
                </a:solidFill>
                <a:latin typeface="Dosis" pitchFamily="2" charset="0"/>
              </a:rPr>
              <a:t>Programmation thématique de la période 2 </a:t>
            </a:r>
          </a:p>
          <a:p>
            <a:pPr algn="ctr" defTabSz="685835">
              <a:lnSpc>
                <a:spcPts val="4199"/>
              </a:lnSpc>
              <a:defRPr/>
            </a:pPr>
            <a:r>
              <a:rPr lang="fr-FR" sz="3000" b="1" dirty="0">
                <a:solidFill>
                  <a:schemeClr val="accent1"/>
                </a:solidFill>
                <a:latin typeface="Dosis" pitchFamily="2" charset="0"/>
              </a:rPr>
              <a:t>Thème : « Ma classe »</a:t>
            </a:r>
          </a:p>
        </p:txBody>
      </p:sp>
      <p:sp>
        <p:nvSpPr>
          <p:cNvPr id="16" name="TextBox 9">
            <a:extLst>
              <a:ext uri="{FF2B5EF4-FFF2-40B4-BE49-F238E27FC236}">
                <a16:creationId xmlns:a16="http://schemas.microsoft.com/office/drawing/2014/main" id="{40D96284-86EB-E4B0-178E-351340DA94F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75748" y="3582463"/>
            <a:ext cx="12954000" cy="48186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b="1" dirty="0">
                <a:solidFill>
                  <a:schemeClr val="accent1"/>
                </a:solidFill>
                <a:latin typeface="Dosis" pitchFamily="2" charset="0"/>
              </a:rPr>
              <a:t>Sous-thèmes : </a:t>
            </a:r>
          </a:p>
        </p:txBody>
      </p:sp>
    </p:spTree>
    <p:extLst>
      <p:ext uri="{BB962C8B-B14F-4D97-AF65-F5344CB8AC3E}">
        <p14:creationId xmlns:p14="http://schemas.microsoft.com/office/powerpoint/2010/main" val="14787547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3356E9-2DD3-2CAF-FE5E-788FEF4BFF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5CA1DC7-0F89-BB7D-4856-C9A04512711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641A55F0-50AB-8A73-84FB-C8B71F70147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73266" y="4159577"/>
            <a:ext cx="12769469" cy="9791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6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Programme de la semaine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75D01213-5235-E4EE-5DDD-00C1129E94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037C1E40-66EF-1C75-CFA0-1BF7F13110D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23C687E-9055-5979-2EEC-7B7FBE1E5CF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16532388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D26EA7-462D-C43A-9F07-ED4E12358D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D54917E2-7B11-EB88-0AF5-5F10224C35E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31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0591482F-C33D-2BF2-A6E4-D76C48BF1DE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79174"/>
            <a:ext cx="12954000" cy="889137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B13234C7-1B92-8C5D-0939-3A437A86C193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ctr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D2ACC2D9-6F4B-148B-BA4E-64A92990B16A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ctr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9802089F-EB4B-1103-F7FA-08E30DBF0C1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1221" y="215597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32"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A9F1370A-3C49-0AA2-BC0F-7ECBE75888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81000" y="1202789"/>
            <a:ext cx="129540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Organisation de la semaine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A6FBDA94-9A55-AA4A-70CC-B30F4794DF1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68946" y="2660253"/>
            <a:ext cx="5405315" cy="1829709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157D1591-2A7A-F913-EF24-F44780F10E4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67272" y="2281627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5958A974-6352-CF26-B135-C4EBE8F331C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9307" y="2356206"/>
            <a:ext cx="2076215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1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4" name="TextBox 10">
            <a:extLst>
              <a:ext uri="{FF2B5EF4-FFF2-40B4-BE49-F238E27FC236}">
                <a16:creationId xmlns:a16="http://schemas.microsoft.com/office/drawing/2014/main" id="{CF6F5EDA-2010-DE82-6861-37413D6195E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27076" y="2964116"/>
            <a:ext cx="5181600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Vocabulaire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Écoute active du dialogue</a:t>
            </a:r>
            <a:endParaRPr lang="fr-FR" sz="21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5E2D54C8-A8D0-C0DF-587F-8E92B28B778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79308" y="5154814"/>
            <a:ext cx="5398229" cy="1598904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94367586-0F7C-1D58-72E0-A907A2E2204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79306" y="4835299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2" name="TextBox 10">
            <a:extLst>
              <a:ext uri="{FF2B5EF4-FFF2-40B4-BE49-F238E27FC236}">
                <a16:creationId xmlns:a16="http://schemas.microsoft.com/office/drawing/2014/main" id="{C8D8F739-8705-558E-14F2-0F607342DC94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79307" y="4907267"/>
            <a:ext cx="2076215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2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3" name="TextBox 10">
            <a:extLst>
              <a:ext uri="{FF2B5EF4-FFF2-40B4-BE49-F238E27FC236}">
                <a16:creationId xmlns:a16="http://schemas.microsoft.com/office/drawing/2014/main" id="{CB3056E3-C8B9-F253-13FB-F0E94E45DF4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27076" y="5329862"/>
            <a:ext cx="5138603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cte de parole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Lecture</a:t>
            </a:r>
            <a:endParaRPr lang="fr-FR" sz="24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id="{EF6A7BB9-02C4-E499-7C22-CA0AA5E0338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79307" y="7428083"/>
            <a:ext cx="5421092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E7088AB2-F340-6AC3-995E-379617155FD6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67270" y="7095290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7" name="TextBox 10">
            <a:extLst>
              <a:ext uri="{FF2B5EF4-FFF2-40B4-BE49-F238E27FC236}">
                <a16:creationId xmlns:a16="http://schemas.microsoft.com/office/drawing/2014/main" id="{E2A56A2D-497F-BE0F-2034-E12FBD7B19DB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198516" y="7578776"/>
            <a:ext cx="4462598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MA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Écriture</a:t>
            </a: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6C494A8F-181A-DF4D-982C-B5CD87D0C1B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118982" y="2660253"/>
            <a:ext cx="5521239" cy="1829709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4D02EE39-3D3F-9C7E-7746-40970F43C90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118982" y="2281627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0" name="TextBox 10">
            <a:extLst>
              <a:ext uri="{FF2B5EF4-FFF2-40B4-BE49-F238E27FC236}">
                <a16:creationId xmlns:a16="http://schemas.microsoft.com/office/drawing/2014/main" id="{17921F4B-54C5-AAF9-9E82-E046EB86A5C1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7118982" y="2357007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4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1" name="TextBox 10">
            <a:extLst>
              <a:ext uri="{FF2B5EF4-FFF2-40B4-BE49-F238E27FC236}">
                <a16:creationId xmlns:a16="http://schemas.microsoft.com/office/drawing/2014/main" id="{817AEF75-A9F9-AF27-32AF-70479EF7BFBF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322351" y="2959118"/>
            <a:ext cx="5054430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Lecture</a:t>
            </a:r>
            <a:endParaRPr lang="fr-FR" sz="24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32" name="Rectangle : coins arrondis 31">
            <a:extLst>
              <a:ext uri="{FF2B5EF4-FFF2-40B4-BE49-F238E27FC236}">
                <a16:creationId xmlns:a16="http://schemas.microsoft.com/office/drawing/2014/main" id="{10D6DB2F-D74E-757C-5150-9C07C41D1654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7164437" y="5154814"/>
            <a:ext cx="5521239" cy="162915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Rectangle : coins arrondis 32">
            <a:extLst>
              <a:ext uri="{FF2B5EF4-FFF2-40B4-BE49-F238E27FC236}">
                <a16:creationId xmlns:a16="http://schemas.microsoft.com/office/drawing/2014/main" id="{B42C1C5E-E1D5-BCEE-2E40-496805D8A2FC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7118982" y="4835299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4" name="TextBox 10">
            <a:extLst>
              <a:ext uri="{FF2B5EF4-FFF2-40B4-BE49-F238E27FC236}">
                <a16:creationId xmlns:a16="http://schemas.microsoft.com/office/drawing/2014/main" id="{B1661B79-F159-C036-4A43-4881CC26DF20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7118982" y="4907267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5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5" name="TextBox 10">
            <a:extLst>
              <a:ext uri="{FF2B5EF4-FFF2-40B4-BE49-F238E27FC236}">
                <a16:creationId xmlns:a16="http://schemas.microsoft.com/office/drawing/2014/main" id="{0BE592F4-404B-9350-A1A3-1943A53CEB8F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7382420" y="5333666"/>
            <a:ext cx="4994361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rgbClr val="106584"/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rgbClr val="106584"/>
                </a:solidFill>
                <a:latin typeface="Dosis" pitchFamily="2" charset="0"/>
              </a:rPr>
              <a:t>Appropriation de l'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rgbClr val="106584"/>
                </a:solidFill>
                <a:latin typeface="Dosis" pitchFamily="2" charset="0"/>
              </a:rPr>
              <a:t>Écriture</a:t>
            </a:r>
            <a:endParaRPr lang="fr-MA" sz="2400" b="1" dirty="0">
              <a:solidFill>
                <a:srgbClr val="106584"/>
              </a:solidFill>
              <a:latin typeface="Dosis" pitchFamily="2" charset="0"/>
            </a:endParaRPr>
          </a:p>
        </p:txBody>
      </p:sp>
      <p:sp>
        <p:nvSpPr>
          <p:cNvPr id="36" name="Rectangle : coins arrondis 35">
            <a:extLst>
              <a:ext uri="{FF2B5EF4-FFF2-40B4-BE49-F238E27FC236}">
                <a16:creationId xmlns:a16="http://schemas.microsoft.com/office/drawing/2014/main" id="{49A775F8-78C6-3BB4-2D21-01DE5AF2AD5B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7164437" y="7428082"/>
            <a:ext cx="5521239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7" name="Rectangle : coins arrondis 36">
            <a:extLst>
              <a:ext uri="{FF2B5EF4-FFF2-40B4-BE49-F238E27FC236}">
                <a16:creationId xmlns:a16="http://schemas.microsoft.com/office/drawing/2014/main" id="{589764F6-37CA-963E-2EED-E12AD8468618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7118982" y="7095290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8" name="TextBox 10">
            <a:extLst>
              <a:ext uri="{FF2B5EF4-FFF2-40B4-BE49-F238E27FC236}">
                <a16:creationId xmlns:a16="http://schemas.microsoft.com/office/drawing/2014/main" id="{361575BF-65D0-716D-E24F-6310280C6CF2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7118982" y="7157231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6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9" name="TextBox 10">
            <a:extLst>
              <a:ext uri="{FF2B5EF4-FFF2-40B4-BE49-F238E27FC236}">
                <a16:creationId xmlns:a16="http://schemas.microsoft.com/office/drawing/2014/main" id="{E1162664-CD36-5CA8-4EBB-D33ACFA7041E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7382420" y="8021069"/>
            <a:ext cx="4616907" cy="395853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évision de la semain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E7CCAA73-75BC-153F-62F2-C117C5FF911F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8794004" y="103890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76F5DDA-3373-F94C-6266-5693F1D011A1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879306" y="7182768"/>
            <a:ext cx="2076213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3026"/>
              </a:lnSpc>
              <a:defRPr/>
            </a:pPr>
            <a:r>
              <a:rPr lang="en-US" sz="2801" dirty="0">
                <a:solidFill>
                  <a:srgbClr val="8DC63F"/>
                </a:solidFill>
                <a:latin typeface="Dosis" pitchFamily="2" charset="0"/>
              </a:rPr>
              <a:t>   </a:t>
            </a: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3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15051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C2D792-9661-6DE2-F93A-CE24F24712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AB37AE72-DC16-3C78-995C-4740D41AEB3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189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4291967E-5785-70E4-C0C7-61B2213E227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58002"/>
            <a:ext cx="12954000" cy="8875604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5846EB5E-0791-9E8A-8414-9D2BA4FB24EE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54538ACF-B9E6-7444-3F8C-7FA6C4BFC867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32F5C805-999C-9E73-E861-0A7A6376180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45454" y="246774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40DA22D1-6F2D-80F8-E798-214474E162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50689" y="109221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E74FF86-0289-553A-32AE-8779741EB24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001" y="1631585"/>
            <a:ext cx="12954000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Contenus de la semaine 2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A08482B-FEA8-B81D-619C-DFF9DE4FE49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977843" y="2946315"/>
            <a:ext cx="3787468" cy="53725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6B922854-5225-0363-6EBE-0C8F99FCD4D5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4968076" y="2954889"/>
            <a:ext cx="3779848" cy="53497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257CCC88-1E96-530A-8FA6-51E87B3C3B58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8950689" y="2954889"/>
            <a:ext cx="3787468" cy="53573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597843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E3607C-46CE-B412-9374-10EDE2E67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9EF6C34B-343B-5FE9-418E-502C8F28BA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8125F813-5C32-E481-CDFA-D7C98402340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698463" y="2871788"/>
            <a:ext cx="7574379" cy="510139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1.  Rituel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Révision du vocabulaire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2. Acte de parole 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Est-ce que tu as… ?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Oui, j’ai … / Non, je n’ai pas … 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3. Écriture 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Écrire des syllabes et des mots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4EE29260-58D4-CD76-984F-6EC678B29B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CFF5CB8B-3D1A-4336-0186-2679B0616C2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1A94D9E-C903-BDB3-757C-F19CB4192D4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720824" y="3035968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8D4B78C5-36D0-DFAD-C71A-4ED4A898EF6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32131" y="1140774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5</a:t>
            </a:r>
          </a:p>
        </p:txBody>
      </p:sp>
    </p:spTree>
    <p:extLst>
      <p:ext uri="{BB962C8B-B14F-4D97-AF65-F5344CB8AC3E}">
        <p14:creationId xmlns:p14="http://schemas.microsoft.com/office/powerpoint/2010/main" val="13305119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-193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00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5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4971621" y="2167870"/>
            <a:ext cx="5029200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00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relia"/>
                <a:ea typeface="+mn-ea"/>
                <a:cs typeface="+mn-cs"/>
              </a:rPr>
              <a:t>Objectifs des rituels</a:t>
            </a:r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C1D261BA-3ABE-2DE1-E789-F4046D0C83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0800000" flipH="1">
            <a:off x="1381346" y="3736257"/>
            <a:ext cx="11115454" cy="3304116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395C32B6-3F71-2033-BA88-FCA970C59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615091" y="3825285"/>
            <a:ext cx="706508" cy="3166298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 l="-109199" t="-6937" r="-896458" b="-829367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86236" y="441300"/>
            <a:ext cx="6643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444E5172-1FEC-C726-0EF2-92DE9D6F9BD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789683" y="4769290"/>
            <a:ext cx="5709984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viser des mots du vocabulaire. 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B6CF2F32-CD60-B83B-E47B-2BBFF6B8E015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1876009" y="4673810"/>
            <a:ext cx="504425" cy="54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2551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82BF15-BB8E-989A-E985-B85960309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EF208EB-CBC0-D417-8786-FCDD4B590EA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09CB912-DCEA-98D8-0632-D26B8638023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71B6C95-808C-274D-88CD-53626543F258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67803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C6AC0830-E62D-97D2-A32A-6FDEE5945A34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469B0D59-FCFA-73A1-A5F7-BB29DECD18D2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5BBD8E0A-9302-BA3F-35EF-51D7975A006A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E013A098-CA5F-A92B-10C3-E6DD7614B986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6D0B8788-CC1A-A112-6526-1B40637EC622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DEA6562E-F05C-00F7-13C2-2F5E359BE3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41786" y="779888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F9926730-19A1-3596-B730-AE339E499EB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74975" y="687484"/>
            <a:ext cx="120760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onjour les enfants. Nous allons commencer une nouvelle leçon de français.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E388BA8-E9EE-DE41-DCA3-773498CEA85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3059771" y="2695098"/>
            <a:ext cx="7596461" cy="623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4466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E91151-5608-0DD3-EDD0-78F3783AE9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E2ADF66C-C38F-EC65-DFC3-2A127500FA5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865911" y="676406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F6452AD8-FD8D-A830-1961-7FDA3705A9B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73641" y="589043"/>
            <a:ext cx="100448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us avons déjà vu ces mots.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 </a:t>
            </a:r>
          </a:p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el est ce mot ?  </a:t>
            </a:r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A86523FA-9E98-1815-5C13-F152348CA4B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412611" y="464582"/>
            <a:ext cx="1894143" cy="1263383"/>
          </a:xfrm>
          <a:prstGeom prst="rect">
            <a:avLst/>
          </a:prstGeom>
        </p:spPr>
      </p:pic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205539DE-D945-3565-E38E-E6056CBE279D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D41D02DE-7D5A-5A92-A07C-7E3ABEA17B1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0491" y="3214930"/>
            <a:ext cx="2976880" cy="3660288"/>
          </a:xfrm>
          <a:prstGeom prst="rect">
            <a:avLst/>
          </a:prstGeom>
        </p:spPr>
      </p:pic>
      <p:pic>
        <p:nvPicPr>
          <p:cNvPr id="6" name="Image 5" descr="Une image contenant Rectangle, croquis, texte, tableau blanc&#10;&#10;Description générée automatiquement">
            <a:extLst>
              <a:ext uri="{FF2B5EF4-FFF2-40B4-BE49-F238E27FC236}">
                <a16:creationId xmlns:a16="http://schemas.microsoft.com/office/drawing/2014/main" id="{5FB43189-D488-646D-4295-A1B758204739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7182" y="3975602"/>
            <a:ext cx="2142693" cy="2335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9494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8590B-F6CF-70CD-6E72-F5ABDBC90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D57E4082-F9D7-0AF5-296D-96E1BB8E53E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E1B37076-2361-6711-89A3-907EE4DD21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8380" y="3592489"/>
            <a:ext cx="12799240" cy="14773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spcAft>
                <a:spcPts val="1800"/>
              </a:spcAft>
              <a:defRPr/>
            </a:pPr>
            <a:r>
              <a:rPr lang="fr-FR" sz="5400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</a:t>
            </a:r>
            <a:r>
              <a:rPr lang="fr-FR" sz="42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Ce support est optimisé pour un visionnage en mode diaporama sur un écran d’ordinateur. </a:t>
            </a:r>
            <a:endParaRPr lang="ar-MA" sz="54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8940B444-C795-AF51-E15B-D70F755F0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BD3357F-7577-9817-B590-13AEBCBCE04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2901C97-7D2E-EE20-D308-59045434F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C9A77FA-585D-127F-845B-8EBC71313FA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77748" y="1237915"/>
            <a:ext cx="2360504" cy="205878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2FA3FF9E-96AB-CA64-0E5A-B49A3A31BB7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/>
          <a:srcRect t="3549" r="25825"/>
          <a:stretch/>
        </p:blipFill>
        <p:spPr>
          <a:xfrm>
            <a:off x="2569153" y="5661395"/>
            <a:ext cx="8969576" cy="1454457"/>
          </a:xfrm>
          <a:prstGeom prst="roundRect">
            <a:avLst/>
          </a:prstGeom>
          <a:ln>
            <a:solidFill>
              <a:schemeClr val="accent5">
                <a:lumMod val="50000"/>
              </a:schemeClr>
            </a:solidFill>
          </a:ln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31DAD90C-01DC-919D-FDFB-9AC4E695309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373218" y="5739229"/>
            <a:ext cx="1363695" cy="129878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4050" dirty="0"/>
          </a:p>
        </p:txBody>
      </p:sp>
    </p:spTree>
    <p:extLst>
      <p:ext uri="{BB962C8B-B14F-4D97-AF65-F5344CB8AC3E}">
        <p14:creationId xmlns:p14="http://schemas.microsoft.com/office/powerpoint/2010/main" val="26029975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C31F63-E693-FC5E-0DF9-8756235076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CB01776C-C876-8166-BE99-D62DC41F501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8866" y="85321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75EC3415-D08E-9718-CF35-528745A3171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92328" y="77138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e vais dire les mots. Répétez après moi. 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D7AA1FA7-1AFA-DAF9-E766-5B5582065054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88093" y="529841"/>
            <a:ext cx="1530246" cy="1284596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DEF4F8A6-9666-A0D6-B5B5-46BCCE1F6E3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100387" y="6875805"/>
            <a:ext cx="28370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un </a:t>
            </a:r>
            <a:r>
              <a:rPr lang="fr-MA" sz="4000" b="1" dirty="0">
                <a:solidFill>
                  <a:srgbClr val="215968"/>
                </a:solidFill>
                <a:latin typeface="Dosis" pitchFamily="2" charset="0"/>
              </a:rPr>
              <a:t>cahier</a:t>
            </a:r>
            <a:endParaRPr kumimoji="0" lang="fr-FR" sz="4000" b="1" i="0" u="none" strike="noStrike" kern="1200" cap="none" spc="0" normalizeH="0" baseline="0" noProof="0" dirty="0">
              <a:ln>
                <a:noFill/>
              </a:ln>
              <a:solidFill>
                <a:srgbClr val="215968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55C7679-F6AD-7D8F-13CE-817E3736AF1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31012" y="6875218"/>
            <a:ext cx="24846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une feuille</a:t>
            </a: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D265FF4B-9582-9689-14E3-A65CC34D2BE8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D3202E25-87E7-A9B5-2348-4F1FA7ACA5F6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0491" y="3214930"/>
            <a:ext cx="2976880" cy="3660288"/>
          </a:xfrm>
          <a:prstGeom prst="rect">
            <a:avLst/>
          </a:prstGeom>
        </p:spPr>
      </p:pic>
      <p:pic>
        <p:nvPicPr>
          <p:cNvPr id="3" name="Image 2" descr="Une image contenant Rectangle, croquis, texte, tableau blanc&#10;&#10;Description générée automatiquement">
            <a:extLst>
              <a:ext uri="{FF2B5EF4-FFF2-40B4-BE49-F238E27FC236}">
                <a16:creationId xmlns:a16="http://schemas.microsoft.com/office/drawing/2014/main" id="{B02D987D-2D89-BDEF-8FAE-A8E460965782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7182" y="3975602"/>
            <a:ext cx="2142693" cy="2335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1907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F49EBF-02E7-DF35-C8D5-D69727A04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55A9E35D-598B-2412-5921-A19D1976CD2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3A92671D-ECD8-96EC-A86E-94F4CCF99BA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12633" y="2857500"/>
            <a:ext cx="10416929" cy="510139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1.  Rituel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Révision du vocabulaire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cs typeface="Calibri" panose="020F0502020204030204" pitchFamily="34" charset="0"/>
              </a:rPr>
              <a:t>2. Acte de parole 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Est-ce que tu as… ?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Oui, j’ai … / Non, je n’ai pas … 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3. Lecture</a:t>
            </a:r>
            <a:endParaRPr lang="fr-FR" sz="4200" b="1" dirty="0">
              <a:solidFill>
                <a:schemeClr val="bg1">
                  <a:lumMod val="65000"/>
                </a:schemeClr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Écrire des syllabes et des mots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65A2F269-8203-AE2A-2593-DD963AF166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23EFBED-2F38-6CF5-0E88-370C2E0786A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83439FE-AC15-5FD8-D1B6-4B9C89ECCE8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77895" y="4764764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3855B124-D0A7-4F85-61DC-C9828EBEBB0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32131" y="1140774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5</a:t>
            </a:r>
          </a:p>
        </p:txBody>
      </p:sp>
    </p:spTree>
    <p:extLst>
      <p:ext uri="{BB962C8B-B14F-4D97-AF65-F5344CB8AC3E}">
        <p14:creationId xmlns:p14="http://schemas.microsoft.com/office/powerpoint/2010/main" val="21496695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-3810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4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733455"/>
            <a:ext cx="12954000" cy="8765811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6222" y="13625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4747428" y="1822448"/>
            <a:ext cx="50292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r>
              <a:rPr lang="fr-FR" sz="3200" dirty="0">
                <a:solidFill>
                  <a:srgbClr val="106585"/>
                </a:solidFill>
                <a:latin typeface="Carelia"/>
              </a:rPr>
              <a:t>Objectifs de l’activité 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7C03ED0A-C5B0-D998-5D5C-0C9D119281B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1638" y="3335592"/>
            <a:ext cx="11752727" cy="4200876"/>
            <a:chOff x="1021947" y="3100970"/>
            <a:chExt cx="11752727" cy="3654320"/>
          </a:xfrm>
        </p:grpSpPr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C1D261BA-3ABE-2DE1-E789-F4046D0C8328}"/>
                </a:ext>
              </a:extLst>
            </p:cNvPr>
            <p:cNvSpPr/>
            <p:nvPr/>
          </p:nvSpPr>
          <p:spPr>
            <a:xfrm rot="10800000" flipH="1">
              <a:off x="1021947" y="3100970"/>
              <a:ext cx="11752727" cy="3654320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395C32B6-3F71-2033-BA88-FCA970C59DCF}"/>
                </a:ext>
              </a:extLst>
            </p:cNvPr>
            <p:cNvSpPr/>
            <p:nvPr/>
          </p:nvSpPr>
          <p:spPr>
            <a:xfrm>
              <a:off x="1255693" y="3189998"/>
              <a:ext cx="706508" cy="3565292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 l="-109199" t="-6937" r="-896458" b="-829367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pic>
        <p:nvPicPr>
          <p:cNvPr id="19" name="Image 18">
            <a:extLst>
              <a:ext uri="{FF2B5EF4-FFF2-40B4-BE49-F238E27FC236}">
                <a16:creationId xmlns:a16="http://schemas.microsoft.com/office/drawing/2014/main" id="{CCC5F9BE-BCEA-3D50-20D4-F48CE3775C75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1480252" y="3990665"/>
            <a:ext cx="504425" cy="549068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49151" y="33334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Dosis"/>
              </a:rPr>
              <a:t>Pour l’enseignant</a:t>
            </a: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6D1AA5F5-9721-BDFB-5D84-C9B03241E66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507530" y="4010714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S’approprier les actes de parole : 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6D1AA5F5-9721-BDFB-5D84-C9B03241E66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979022" y="4670448"/>
            <a:ext cx="8678662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490">
              <a:defRPr/>
            </a:pPr>
            <a:r>
              <a:rPr lang="fr-FR" sz="3200" b="1" kern="100" dirty="0">
                <a:solidFill>
                  <a:srgbClr val="106585"/>
                </a:solidFill>
                <a:latin typeface="Dosis" pitchFamily="2" charset="0"/>
                <a:cs typeface="Arial" panose="020B0604020202020204" pitchFamily="34" charset="0"/>
              </a:rPr>
              <a:t>Est-ce que tu as… ?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A7C75934-EA09-FAF7-A0F8-3A93E9B0AD9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1525597" y="5880388"/>
            <a:ext cx="504425" cy="549068"/>
          </a:xfrm>
          <a:prstGeom prst="rect">
            <a:avLst/>
          </a:prstGeom>
        </p:spPr>
      </p:pic>
      <p:sp>
        <p:nvSpPr>
          <p:cNvPr id="15" name="TextBox 10">
            <a:extLst>
              <a:ext uri="{FF2B5EF4-FFF2-40B4-BE49-F238E27FC236}">
                <a16:creationId xmlns:a16="http://schemas.microsoft.com/office/drawing/2014/main" id="{940A627E-03E1-78D4-52F2-DAEFE422D83B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552875" y="5914725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Utiliser des outils de langue : </a:t>
            </a:r>
          </a:p>
        </p:txBody>
      </p:sp>
      <p:sp>
        <p:nvSpPr>
          <p:cNvPr id="16" name="TextBox 10">
            <a:extLst>
              <a:ext uri="{FF2B5EF4-FFF2-40B4-BE49-F238E27FC236}">
                <a16:creationId xmlns:a16="http://schemas.microsoft.com/office/drawing/2014/main" id="{2DA6B2EC-A123-8022-FC7A-ECF860402227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979022" y="6548500"/>
            <a:ext cx="8443805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490">
              <a:defRPr/>
            </a:pPr>
            <a:r>
              <a:rPr lang="fr-FR" sz="3200" b="1" kern="100" dirty="0">
                <a:solidFill>
                  <a:srgbClr val="106585"/>
                </a:solidFill>
                <a:latin typeface="Dosis" pitchFamily="2" charset="0"/>
                <a:cs typeface="Arial" panose="020B0604020202020204" pitchFamily="34" charset="0"/>
              </a:rPr>
              <a:t>Oui, j’ai … / Non, je n’ai pas … .</a:t>
            </a:r>
          </a:p>
        </p:txBody>
      </p:sp>
    </p:spTree>
    <p:extLst>
      <p:ext uri="{BB962C8B-B14F-4D97-AF65-F5344CB8AC3E}">
        <p14:creationId xmlns:p14="http://schemas.microsoft.com/office/powerpoint/2010/main" val="16431639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7090A0-7D28-47D0-1F6A-F1A39FB743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CFA31FF5-C238-7475-BC79-76F7A218C27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33AFA753-72CA-A6C7-66D8-E77E01387C5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C15B48-76C1-A575-2ABA-FB0346CDA36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0B30047-A737-2A1A-EA43-9D116ED4ACBC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EA3F7DD1-8DED-332C-1DC9-E1FC0BB1CF3F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2F8979D-0E93-36C0-25C6-3EF542CABB66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6C85368F-2B3B-F547-D27F-932F6F927D6D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3064A59E-82F4-40B8-DC7C-C2F5E6033F01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FB101090-FFFF-110A-367C-B3258319D3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EF862B41-83E7-A96B-363F-062037AA7192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98559" y="543874"/>
            <a:ext cx="1427019" cy="1575467"/>
          </a:xfrm>
          <a:prstGeom prst="rect">
            <a:avLst/>
          </a:prstGeom>
        </p:spPr>
      </p:pic>
      <p:pic>
        <p:nvPicPr>
          <p:cNvPr id="12" name="Image 11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049EC1EF-3605-645B-E8B8-3BFB4248614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941307" y="3540171"/>
            <a:ext cx="3357580" cy="567954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DD43DE0-764A-DDE1-1DD9-CB519E93E7A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/>
          <a:stretch>
            <a:fillRect/>
          </a:stretch>
        </p:blipFill>
        <p:spPr>
          <a:xfrm flipH="1">
            <a:off x="6857982" y="4203739"/>
            <a:ext cx="3657617" cy="4663472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D2E21719-7314-20EB-019B-2CF23B56296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371600" y="636631"/>
            <a:ext cx="12409713" cy="5582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45" rtl="0" eaLnBrk="1" fontAlgn="auto" latinLnBrk="0" hangingPunct="1">
              <a:lnSpc>
                <a:spcPts val="4022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Nous allons réécouter le dialogue entre Karim et Rita.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F78C043C-12B3-BD6D-9C88-EF36185D4557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20395278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67218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7D1722-C290-4661-6AD5-91378327A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A3378D54-466B-7047-1ED3-B6EEF7246BD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D554FC8F-BF57-7EDA-765A-1E01ED3566B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8F4C7D0-B4C5-D536-1A45-FBD68B1AAE5D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43F03C1-1AE8-2B27-0269-CC0CA6BD5AFD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D5DEF50B-103C-A37A-D5FD-FB3269DE9E75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B836A91-7D47-E88B-7FF0-15DB407CF035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555EF3C-0FF0-7D8C-8750-FD0BF2FA32D6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0B2BD6D-388B-7284-B186-9D3827E94CA3}"/>
                    </a:ext>
                  </a:extLst>
                </p:cNvPr>
                <p:cNvSpPr/>
                <p:nvPr>
                  <p:custDataLst>
                    <p:tags r:id="rId16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511AE82C-208F-6491-6223-DD244B737B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19677" y="749000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i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Première écoute (diffusion automatique)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069A0AAA-BCE5-3E93-CD8D-671C2DEE02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14" name="Image 13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A579F755-D4CD-6115-AEB8-A3E83E4C1F1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12794" y="4422049"/>
            <a:ext cx="2988006" cy="505438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6E2B17C-EF5C-8A87-4628-79F049F874B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0"/>
          <a:stretch>
            <a:fillRect/>
          </a:stretch>
        </p:blipFill>
        <p:spPr>
          <a:xfrm flipH="1">
            <a:off x="7329468" y="4973777"/>
            <a:ext cx="3255017" cy="4150156"/>
          </a:xfrm>
          <a:prstGeom prst="rect">
            <a:avLst/>
          </a:prstGeom>
        </p:spPr>
      </p:pic>
      <p:sp>
        <p:nvSpPr>
          <p:cNvPr id="18" name="Bulle narrative : ronde 17">
            <a:extLst>
              <a:ext uri="{FF2B5EF4-FFF2-40B4-BE49-F238E27FC236}">
                <a16:creationId xmlns:a16="http://schemas.microsoft.com/office/drawing/2014/main" id="{7C1628FE-5BCA-20D5-B632-4BD71C0203D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175638" y="2524792"/>
            <a:ext cx="2228282" cy="1569923"/>
          </a:xfrm>
          <a:prstGeom prst="wedgeEllipseCallout">
            <a:avLst>
              <a:gd name="adj1" fmla="val 41240"/>
              <a:gd name="adj2" fmla="val 746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Bulle narrative : ronde 18">
            <a:extLst>
              <a:ext uri="{FF2B5EF4-FFF2-40B4-BE49-F238E27FC236}">
                <a16:creationId xmlns:a16="http://schemas.microsoft.com/office/drawing/2014/main" id="{BF6AE098-EA26-E8C4-15C7-99461030571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186118" y="2544527"/>
            <a:ext cx="2228282" cy="1569923"/>
          </a:xfrm>
          <a:prstGeom prst="wedgeEllipseCallout">
            <a:avLst>
              <a:gd name="adj1" fmla="val -43465"/>
              <a:gd name="adj2" fmla="val 69012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6" name="Parcours_1_Pd_2_S2_Dialogue">
            <a:hlinkClick r:id="" action="ppaction://media"/>
            <a:extLst>
              <a:ext uri="{FF2B5EF4-FFF2-40B4-BE49-F238E27FC236}">
                <a16:creationId xmlns:a16="http://schemas.microsoft.com/office/drawing/2014/main" id="{2BDAF100-CE51-7628-5D74-3BE6F7FA4527}"/>
              </a:ext>
            </a:extLst>
          </p:cNvPr>
          <p:cNvPicPr>
            <a:picLocks noChangeAspect="1"/>
          </p:cNvPicPr>
          <p:nvPr>
            <a:audioFile r:link="rId10"/>
            <p:custDataLst>
              <p:tags r:id="rId11"/>
            </p:custDataLst>
            <p:extLst>
              <p:ext uri="{DAA4B4D4-6D71-4841-9C94-3DE7FCFB9230}">
                <p14:media xmlns:p14="http://schemas.microsoft.com/office/powerpoint/2010/main" r:embed="rId9"/>
              </p:ext>
            </p:extLst>
          </p:nvPr>
        </p:nvPicPr>
        <p:blipFill>
          <a:blip r:embed="rId21"/>
          <a:stretch>
            <a:fillRect/>
          </a:stretch>
        </p:blipFill>
        <p:spPr>
          <a:xfrm>
            <a:off x="9938243" y="755821"/>
            <a:ext cx="487363" cy="487363"/>
          </a:xfrm>
          <a:prstGeom prst="rect">
            <a:avLst/>
          </a:prstGeom>
        </p:spPr>
      </p:pic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45B0F165-B078-A537-C410-7264F247214E}"/>
              </a:ext>
            </a:extLst>
          </p:cNvPr>
          <p:cNvGraphicFramePr>
            <a:graphicFrameLocks noGrp="1"/>
          </p:cNvGraphicFramePr>
          <p:nvPr>
            <p:custDataLst>
              <p:tags r:id="rId12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732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2315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7" presetClass="emph" presetSubtype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9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7" presetClass="emph" presetSubtype="1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11" dur="2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" dur="2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7" presetClass="emph" presetSubtype="1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14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7" presetClass="emph" presetSubtype="1" nodeType="withEffect">
                                  <p:stCondLst>
                                    <p:cond delay="10750"/>
                                  </p:stCondLst>
                                  <p:childTnLst>
                                    <p:set>
                                      <p:cBhvr>
                                        <p:cTn id="17" dur="37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8" dur="37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7" presetClass="emph" presetSubtype="1" nodeType="withEffect">
                                  <p:stCondLst>
                                    <p:cond delay="14500"/>
                                  </p:stCondLst>
                                  <p:childTnLst>
                                    <p:set>
                                      <p:cBhvr>
                                        <p:cTn id="20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1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7" presetClass="emph" presetSubtype="1" nodeType="withEffect">
                                  <p:stCondLst>
                                    <p:cond delay="19000"/>
                                  </p:stCondLst>
                                  <p:childTnLst>
                                    <p:set>
                                      <p:cBhvr>
                                        <p:cTn id="23" dur="3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4" dur="3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11411D-AB82-CD69-C19B-64D5996D92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D6E08C70-B353-4F1F-1116-B258C0FB4AD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B12CBCC-4844-A2FE-8F59-6519CC2E3C3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1C1B0D0-9CE2-FD84-FE3A-E886E06A52B6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85CA2F3C-2733-5181-9207-C0A1659840BB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7E28CF3B-86F1-684B-B385-11E508F9C4A0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7004358B-0C52-BD46-7078-1F19101DB9A0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BA498E2-3ECF-694D-15D6-5772676A9564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71B49946-561D-B446-727B-F40E06CA7B7A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0F08B29D-CBF2-D3A4-2118-B69C6D7A2D2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9316A457-0875-5003-0735-2C503C88F46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28572" y="736196"/>
            <a:ext cx="109052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Je vais diffuser le dialogue une deuxième fois. Écoutez attentivement. </a:t>
            </a:r>
          </a:p>
        </p:txBody>
      </p:sp>
      <p:pic>
        <p:nvPicPr>
          <p:cNvPr id="13" name="Image 12" descr="Une image contenant clipart, dessin, illustration, dessin humoristique&#10;&#10;Description générée automatiquement">
            <a:extLst>
              <a:ext uri="{FF2B5EF4-FFF2-40B4-BE49-F238E27FC236}">
                <a16:creationId xmlns:a16="http://schemas.microsoft.com/office/drawing/2014/main" id="{BF74A406-552F-902E-71AD-3F309E37B3A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7082" y="2965052"/>
            <a:ext cx="4368191" cy="4356896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AEF74FAF-1DF7-49B9-CFF0-3D9ECB64194A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18791055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34850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7D1722-C290-4661-6AD5-91378327A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A3378D54-466B-7047-1ED3-B6EEF7246BD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D554FC8F-BF57-7EDA-765A-1E01ED3566B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8F4C7D0-B4C5-D536-1A45-FBD68B1AAE5D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43F03C1-1AE8-2B27-0269-CC0CA6BD5AFD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D5DEF50B-103C-A37A-D5FD-FB3269DE9E75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B836A91-7D47-E88B-7FF0-15DB407CF035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555EF3C-0FF0-7D8C-8750-FD0BF2FA32D6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0B2BD6D-388B-7284-B186-9D3827E94CA3}"/>
                    </a:ext>
                  </a:extLst>
                </p:cNvPr>
                <p:cNvSpPr/>
                <p:nvPr>
                  <p:custDataLst>
                    <p:tags r:id="rId16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511AE82C-208F-6491-6223-DD244B737B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19677" y="749000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i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Deuxième écoute (diffusion automatique)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069A0AAA-BCE5-3E93-CD8D-671C2DEE02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14" name="Image 13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A579F755-D4CD-6115-AEB8-A3E83E4C1F1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12794" y="4422049"/>
            <a:ext cx="2988006" cy="505438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6E2B17C-EF5C-8A87-4628-79F049F874B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0"/>
          <a:stretch>
            <a:fillRect/>
          </a:stretch>
        </p:blipFill>
        <p:spPr>
          <a:xfrm flipH="1">
            <a:off x="7329468" y="4973777"/>
            <a:ext cx="3255017" cy="4150156"/>
          </a:xfrm>
          <a:prstGeom prst="rect">
            <a:avLst/>
          </a:prstGeom>
        </p:spPr>
      </p:pic>
      <p:sp>
        <p:nvSpPr>
          <p:cNvPr id="18" name="Bulle narrative : ronde 17">
            <a:extLst>
              <a:ext uri="{FF2B5EF4-FFF2-40B4-BE49-F238E27FC236}">
                <a16:creationId xmlns:a16="http://schemas.microsoft.com/office/drawing/2014/main" id="{7C1628FE-5BCA-20D5-B632-4BD71C0203D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175638" y="2524792"/>
            <a:ext cx="2228282" cy="1569923"/>
          </a:xfrm>
          <a:prstGeom prst="wedgeEllipseCallout">
            <a:avLst>
              <a:gd name="adj1" fmla="val 41240"/>
              <a:gd name="adj2" fmla="val 746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Bulle narrative : ronde 18">
            <a:extLst>
              <a:ext uri="{FF2B5EF4-FFF2-40B4-BE49-F238E27FC236}">
                <a16:creationId xmlns:a16="http://schemas.microsoft.com/office/drawing/2014/main" id="{BF6AE098-EA26-E8C4-15C7-99461030571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186118" y="2544527"/>
            <a:ext cx="2228282" cy="1569923"/>
          </a:xfrm>
          <a:prstGeom prst="wedgeEllipseCallout">
            <a:avLst>
              <a:gd name="adj1" fmla="val -43465"/>
              <a:gd name="adj2" fmla="val 69012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6" name="Parcours_1_Pd_2_S2_Dialogue">
            <a:hlinkClick r:id="" action="ppaction://media"/>
            <a:extLst>
              <a:ext uri="{FF2B5EF4-FFF2-40B4-BE49-F238E27FC236}">
                <a16:creationId xmlns:a16="http://schemas.microsoft.com/office/drawing/2014/main" id="{2BDAF100-CE51-7628-5D74-3BE6F7FA4527}"/>
              </a:ext>
            </a:extLst>
          </p:cNvPr>
          <p:cNvPicPr>
            <a:picLocks noChangeAspect="1"/>
          </p:cNvPicPr>
          <p:nvPr>
            <a:audioFile r:link="rId10"/>
            <p:custDataLst>
              <p:tags r:id="rId11"/>
            </p:custDataLst>
            <p:extLst>
              <p:ext uri="{DAA4B4D4-6D71-4841-9C94-3DE7FCFB9230}">
                <p14:media xmlns:p14="http://schemas.microsoft.com/office/powerpoint/2010/main" r:embed="rId9"/>
              </p:ext>
            </p:extLst>
          </p:nvPr>
        </p:nvPicPr>
        <p:blipFill>
          <a:blip r:embed="rId21"/>
          <a:stretch>
            <a:fillRect/>
          </a:stretch>
        </p:blipFill>
        <p:spPr>
          <a:xfrm>
            <a:off x="9938243" y="755821"/>
            <a:ext cx="487363" cy="487363"/>
          </a:xfrm>
          <a:prstGeom prst="rect">
            <a:avLst/>
          </a:prstGeom>
        </p:spPr>
      </p:pic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022D0A5E-3274-BBE5-F4F8-FE549AD7113D}"/>
              </a:ext>
            </a:extLst>
          </p:cNvPr>
          <p:cNvGraphicFramePr>
            <a:graphicFrameLocks noGrp="1"/>
          </p:cNvGraphicFramePr>
          <p:nvPr>
            <p:custDataLst>
              <p:tags r:id="rId12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07751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2315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7" presetClass="emph" presetSubtype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9" dur="4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7" presetClass="emph" presetSubtype="1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11" dur="2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" dur="2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7" presetClass="emph" presetSubtype="1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14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" dur="3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7" presetClass="emph" presetSubtype="1" nodeType="withEffect">
                                  <p:stCondLst>
                                    <p:cond delay="10750"/>
                                  </p:stCondLst>
                                  <p:childTnLst>
                                    <p:set>
                                      <p:cBhvr>
                                        <p:cTn id="17" dur="37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8" dur="37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7" presetClass="emph" presetSubtype="1" nodeType="withEffect">
                                  <p:stCondLst>
                                    <p:cond delay="14500"/>
                                  </p:stCondLst>
                                  <p:childTnLst>
                                    <p:set>
                                      <p:cBhvr>
                                        <p:cTn id="20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1" dur="4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7" presetClass="emph" presetSubtype="1" nodeType="withEffect">
                                  <p:stCondLst>
                                    <p:cond delay="19000"/>
                                  </p:stCondLst>
                                  <p:childTnLst>
                                    <p:set>
                                      <p:cBhvr>
                                        <p:cTn id="23" dur="3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4" dur="3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3730EA-CD15-9A0E-BE35-95D47268D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9B3188FA-D6A4-5975-1022-8A3ABDEA3DA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2897A553-4FA8-7BA7-7B68-C0BFD705D47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7AC4E15-1540-7D29-E91C-52DDA8FFACE5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8D079BE5-3F72-27A1-550D-818E4FA03551}"/>
                </a:ext>
              </a:extLst>
            </p:cNvPr>
            <p:cNvGrpSpPr/>
            <p:nvPr/>
          </p:nvGrpSpPr>
          <p:grpSpPr>
            <a:xfrm>
              <a:off x="228600" y="262182"/>
              <a:ext cx="8692119" cy="6351831"/>
              <a:chOff x="183903" y="180292"/>
              <a:chExt cx="8781569" cy="6513584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370443B5-2423-16FA-92B2-BE1A5F98AE41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183903" y="193967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4DD71BC0-49D1-9B5C-5E55-CAED6598B76B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124B5A14-C4E5-7E01-A897-A5FA84EF7C7C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49437528-A0CA-8F3A-0211-711428C5C439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9CA4D3DE-AC87-C50E-7F65-371B8EAEAB6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45A9D4-2310-7B50-0B98-6DDE30D4A32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ta dit « Est-ce que tu as des ciseaux ?» </a:t>
            </a:r>
          </a:p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 ?  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6C929804-FA2B-280B-BD00-9FE53FB8A62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045818" y="2237018"/>
            <a:ext cx="4487091" cy="1661723"/>
          </a:xfrm>
          <a:prstGeom prst="wedgeEllipseCallout">
            <a:avLst>
              <a:gd name="adj1" fmla="val -22115"/>
              <a:gd name="adj2" fmla="val 76435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-ce que tu as </a:t>
            </a:r>
            <a:r>
              <a:rPr lang="fr-FR" sz="3600" b="1" dirty="0">
                <a:solidFill>
                  <a:srgbClr val="215968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s ciseaux 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?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001D892-B50C-8243-1D34-46C207D30E4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pic>
        <p:nvPicPr>
          <p:cNvPr id="13" name="Image 12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9E509B7A-9078-69E8-783E-7BF54893B47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744991" y="3981465"/>
            <a:ext cx="3096699" cy="5238245"/>
          </a:xfrm>
          <a:prstGeom prst="rect">
            <a:avLst/>
          </a:prstGeom>
        </p:spPr>
      </p:pic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C560C1FF-779F-537E-F07F-090D793E1699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E2266A54-ADA3-B791-C7DC-9AB158BFF09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4637" y="5761589"/>
            <a:ext cx="1547241" cy="1902445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64B1F600-5E96-415C-3BD9-568A07AEEEA1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6407094" y="4505201"/>
            <a:ext cx="2861233" cy="4280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2783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F34C78-42CE-330F-F19F-52CD1224FC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7B406E8-8902-D2AA-CEB7-8BA51441AB2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819FBFCA-DDBF-5B27-3A2C-65CF442855D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62D902D-F7DF-CA8E-6B40-F3C21443A1FE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6B49B497-D8E8-5246-4E51-0DEAA70E8680}"/>
                </a:ext>
              </a:extLst>
            </p:cNvPr>
            <p:cNvGrpSpPr/>
            <p:nvPr/>
          </p:nvGrpSpPr>
          <p:grpSpPr>
            <a:xfrm>
              <a:off x="228600" y="262182"/>
              <a:ext cx="8692119" cy="6351831"/>
              <a:chOff x="183903" y="180292"/>
              <a:chExt cx="8781569" cy="6513584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CB1C9F6E-8264-4D60-46DE-AF01FB470447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183903" y="193967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7BD75CC9-A902-BF8E-A57B-9BF5FA2E442C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0B07DF92-25DE-20C5-DDA7-7DE32CAB7884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CE8E11FA-EED0-7F05-52C7-E0E731F451D5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2F12646D-5002-4693-FC09-9A63A2B5B80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D6CC67D3-4D93-73C2-F782-B3D52B0BE18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arim dit « Oui, j’ai des ciseaux. » </a:t>
            </a:r>
          </a:p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 ?  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A016CF70-C73E-A1EF-1C5F-D6161C23357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313494" y="1912466"/>
            <a:ext cx="3749993" cy="1661723"/>
          </a:xfrm>
          <a:prstGeom prst="wedgeEllipseCallout">
            <a:avLst>
              <a:gd name="adj1" fmla="val 13943"/>
              <a:gd name="adj2" fmla="val 79436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ui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’ai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s ciseaux.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4C86049-85D0-EEC9-CF5F-CDDCDD1AF01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CFC0816-6568-49F2-F040-1BEE8AC5385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0"/>
          <a:stretch>
            <a:fillRect/>
          </a:stretch>
        </p:blipFill>
        <p:spPr>
          <a:xfrm flipH="1">
            <a:off x="8120725" y="4586287"/>
            <a:ext cx="3357579" cy="4280923"/>
          </a:xfrm>
          <a:prstGeom prst="rect">
            <a:avLst/>
          </a:prstGeom>
        </p:spPr>
      </p:pic>
      <p:pic>
        <p:nvPicPr>
          <p:cNvPr id="14" name="Image 13" descr="Une image contenant chaussures, garçon, habits, personne&#10;&#10;Description générée automatiquement">
            <a:extLst>
              <a:ext uri="{FF2B5EF4-FFF2-40B4-BE49-F238E27FC236}">
                <a16:creationId xmlns:a16="http://schemas.microsoft.com/office/drawing/2014/main" id="{BD55B18E-80E7-000B-8F88-79DCAD385F0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110" t="50812" r="67028" b="3274"/>
          <a:stretch/>
        </p:blipFill>
        <p:spPr>
          <a:xfrm flipH="1">
            <a:off x="3922017" y="3844602"/>
            <a:ext cx="5573271" cy="5080291"/>
          </a:xfrm>
          <a:prstGeom prst="rect">
            <a:avLst/>
          </a:prstGeom>
        </p:spPr>
      </p:pic>
      <p:pic>
        <p:nvPicPr>
          <p:cNvPr id="13" name="Picture 2" descr="12,300+ Right Wrong Stock Illustrations, Royalty-Free Vector ...">
            <a:extLst>
              <a:ext uri="{FF2B5EF4-FFF2-40B4-BE49-F238E27FC236}">
                <a16:creationId xmlns:a16="http://schemas.microsoft.com/office/drawing/2014/main" id="{06580813-7F2D-D5C1-30AF-1468B529BD83}"/>
              </a:ext>
            </a:extLst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 rotWithShape="1">
          <a:blip r:embed="rId2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2684288" y="4759303"/>
            <a:ext cx="1405443" cy="174073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56246705-90A0-9E0E-B0A5-66CB81D4A25A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D9C8D00D-10B8-60E0-C166-2D7720198F33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5480" y="6384747"/>
            <a:ext cx="1547241" cy="1902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55925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3730EA-CD15-9A0E-BE35-95D47268D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9CA4D3DE-AC87-C50E-7F65-371B8EAEAB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45A9D4-2310-7B50-0B98-6DDE30D4A3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ta dit « Est-ce que tu as une gomme ?» </a:t>
            </a:r>
          </a:p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 ?  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6C929804-FA2B-280B-BD00-9FE53FB8A6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378343" y="2137944"/>
            <a:ext cx="4617720" cy="1661723"/>
          </a:xfrm>
          <a:prstGeom prst="wedgeEllipseCallout">
            <a:avLst>
              <a:gd name="adj1" fmla="val -21244"/>
              <a:gd name="adj2" fmla="val 86916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-ce que tu as </a:t>
            </a:r>
            <a:r>
              <a:rPr lang="fr-FR" sz="3600" b="1" dirty="0">
                <a:solidFill>
                  <a:srgbClr val="215968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e gomme 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?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001D892-B50C-8243-1D34-46C207D30E4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pic>
        <p:nvPicPr>
          <p:cNvPr id="13" name="Image 12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9E509B7A-9078-69E8-783E-7BF54893B47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962707" y="3981465"/>
            <a:ext cx="3096699" cy="5238245"/>
          </a:xfrm>
          <a:prstGeom prst="rect">
            <a:avLst/>
          </a:prstGeom>
        </p:spPr>
      </p:pic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C560C1FF-779F-537E-F07F-090D793E169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6" name="Image 15">
            <a:extLst>
              <a:ext uri="{FF2B5EF4-FFF2-40B4-BE49-F238E27FC236}">
                <a16:creationId xmlns:a16="http://schemas.microsoft.com/office/drawing/2014/main" id="{748E017C-B456-6837-BBAC-6050F4D2C07E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6624810" y="4505201"/>
            <a:ext cx="2861233" cy="4280923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86806509-88DF-BB69-7E22-69A25E1FDDA4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10138959" y="6600587"/>
            <a:ext cx="1620711" cy="919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0969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8590B-F6CF-70CD-6E72-F5ABDBC90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D57E4082-F9D7-0AF5-296D-96E1BB8E53E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E1B37076-2361-6711-89A3-907EE4DD21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85802" y="4168131"/>
            <a:ext cx="12769469" cy="105157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72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   Orientations générales</a:t>
            </a:r>
            <a:endParaRPr lang="ar-MA" sz="72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8940B444-C795-AF51-E15B-D70F755F0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BD3357F-7577-9817-B590-13AEBCBCE04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2901C97-7D2E-EE20-D308-59045434F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32901161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F34C78-42CE-330F-F19F-52CD1224FC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2F12646D-5002-4693-FC09-9A63A2B5B80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D6CC67D3-4D93-73C2-F782-B3D52B0BE18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arim dit « Non, je n’ai pas de gomme. » </a:t>
            </a:r>
          </a:p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 ?  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A016CF70-C73E-A1EF-1C5F-D6161C2335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348057" y="1908384"/>
            <a:ext cx="4535786" cy="1661723"/>
          </a:xfrm>
          <a:prstGeom prst="wedgeEllipseCallout">
            <a:avLst>
              <a:gd name="adj1" fmla="val 13943"/>
              <a:gd name="adj2" fmla="val 79436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n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fr-FR" sz="3600" b="1" dirty="0">
                <a:solidFill>
                  <a:srgbClr val="215968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je </a:t>
            </a:r>
            <a:r>
              <a:rPr lang="fr-FR" sz="3600" b="1" dirty="0">
                <a:solidFill>
                  <a:srgbClr val="FF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n’</a:t>
            </a:r>
            <a:r>
              <a:rPr lang="fr-FR" sz="3600" b="1" dirty="0">
                <a:solidFill>
                  <a:srgbClr val="215968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i 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s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gomme.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4C86049-85D0-EEC9-CF5F-CDDCDD1AF010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CFC0816-6568-49F2-F040-1BEE8AC5385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/>
          <a:stretch>
            <a:fillRect/>
          </a:stretch>
        </p:blipFill>
        <p:spPr>
          <a:xfrm flipH="1">
            <a:off x="7598201" y="4586287"/>
            <a:ext cx="3357579" cy="4280923"/>
          </a:xfrm>
          <a:prstGeom prst="rect">
            <a:avLst/>
          </a:prstGeom>
        </p:spPr>
      </p:pic>
      <p:pic>
        <p:nvPicPr>
          <p:cNvPr id="14" name="Image 13" descr="Une image contenant chaussures, garçon, habits, personne&#10;&#10;Description générée automatiquement">
            <a:extLst>
              <a:ext uri="{FF2B5EF4-FFF2-40B4-BE49-F238E27FC236}">
                <a16:creationId xmlns:a16="http://schemas.microsoft.com/office/drawing/2014/main" id="{BD55B18E-80E7-000B-8F88-79DCAD385F0D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110" t="50812" r="67028" b="3274"/>
          <a:stretch/>
        </p:blipFill>
        <p:spPr>
          <a:xfrm flipH="1">
            <a:off x="3399493" y="3844602"/>
            <a:ext cx="5573271" cy="5080291"/>
          </a:xfrm>
          <a:prstGeom prst="rect">
            <a:avLst/>
          </a:prstGeom>
        </p:spPr>
      </p:pic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56246705-90A0-9E0E-B0A5-66CB81D4A25A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Picture 2" descr="12,300+ Right Wrong Stock Illustrations, Royalty-Free Vector ...">
            <a:extLst>
              <a:ext uri="{FF2B5EF4-FFF2-40B4-BE49-F238E27FC236}">
                <a16:creationId xmlns:a16="http://schemas.microsoft.com/office/drawing/2014/main" id="{77A5E2AC-6421-A888-0F02-FDDA8BAA476D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68" t="9947" r="832"/>
          <a:stretch/>
        </p:blipFill>
        <p:spPr bwMode="auto">
          <a:xfrm>
            <a:off x="2234460" y="4984649"/>
            <a:ext cx="1260049" cy="140540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ED58F4B9-828F-5D98-AD6D-4732681F53F7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2072576" y="6743291"/>
            <a:ext cx="1620711" cy="919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9975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0DD751-FCA6-1967-090D-D4FC52958E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DA99E706-3A24-2434-8A62-6A5E025C873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6C2832EE-BDF4-829B-68C3-AF263B2D67F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E0909C-7D83-06C1-B1D7-67D494C349A0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95FDAACD-9B24-CD8E-4092-3245D999CC5E}"/>
                </a:ext>
              </a:extLst>
            </p:cNvPr>
            <p:cNvGrpSpPr/>
            <p:nvPr/>
          </p:nvGrpSpPr>
          <p:grpSpPr>
            <a:xfrm>
              <a:off x="228600" y="262182"/>
              <a:ext cx="8692119" cy="6351831"/>
              <a:chOff x="183903" y="180292"/>
              <a:chExt cx="8781569" cy="6513584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39BFC766-6485-A7F6-D6A4-BB652DF95D59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183903" y="193967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F9B01CB6-5ED1-A2B8-7723-5C7B1AC674F7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91234F2F-0380-987F-9743-C0DCBC4A3A49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346A6A4C-BC14-285C-3F95-1CA56EF08883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59760368-12D3-264F-1E58-7AE5C4CBB3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0E81A1A-2B9D-0631-770B-B790F70F235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ta dit « Est-ce que tu as des crayons de couleur ?»</a:t>
            </a:r>
          </a:p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 ?  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3E2E2127-5E74-94B2-6BB2-BE0C5D48228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353856" y="2200361"/>
            <a:ext cx="5117818" cy="1618394"/>
          </a:xfrm>
          <a:prstGeom prst="wedgeEllipseCallout">
            <a:avLst>
              <a:gd name="adj1" fmla="val -20635"/>
              <a:gd name="adj2" fmla="val 7224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-ce que tu as </a:t>
            </a:r>
            <a:r>
              <a:rPr lang="fr-FR" sz="3200" b="1" dirty="0">
                <a:solidFill>
                  <a:srgbClr val="215968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s crayons de couleur</a:t>
            </a: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?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F0531E71-4E37-83BD-9873-B69834C7586F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pic>
        <p:nvPicPr>
          <p:cNvPr id="13" name="Image 12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5947218F-01CD-FEFF-20F9-F0BB9FBBE079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002834" y="4014533"/>
            <a:ext cx="3096699" cy="5238245"/>
          </a:xfrm>
          <a:prstGeom prst="rect">
            <a:avLst/>
          </a:prstGeom>
        </p:spPr>
      </p:pic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31FCCBD0-AD45-2D1F-B090-565EBF1D12F8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8" name="Image 17">
            <a:extLst>
              <a:ext uri="{FF2B5EF4-FFF2-40B4-BE49-F238E27FC236}">
                <a16:creationId xmlns:a16="http://schemas.microsoft.com/office/drawing/2014/main" id="{1E24615E-E18D-A993-1DA8-B7F66B9569F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5442433" y="4493195"/>
            <a:ext cx="2861233" cy="4280923"/>
          </a:xfrm>
          <a:prstGeom prst="rect">
            <a:avLst/>
          </a:prstGeom>
        </p:spPr>
      </p:pic>
      <p:pic>
        <p:nvPicPr>
          <p:cNvPr id="6" name="Image 5" descr="Une image contenant Caractère coloré, art, crayon&#10;&#10;Description générée automatiquement">
            <a:extLst>
              <a:ext uri="{FF2B5EF4-FFF2-40B4-BE49-F238E27FC236}">
                <a16:creationId xmlns:a16="http://schemas.microsoft.com/office/drawing/2014/main" id="{C82D8ADF-70B1-43E3-107A-3A33F9CFE0A3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2920" y="5809844"/>
            <a:ext cx="1533441" cy="1671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66573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065D2E-411F-AE1F-03CC-5E436DE9FD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19036DE8-62CF-BABF-32A2-135583B7B6A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DD234B7A-8311-D3BE-60B4-B6BBA340F8A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4D48DE9-F4A5-831B-A382-835DF3C886EB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17F825BE-D930-9E66-1CCA-0DADEDFA1C84}"/>
                </a:ext>
              </a:extLst>
            </p:cNvPr>
            <p:cNvGrpSpPr/>
            <p:nvPr/>
          </p:nvGrpSpPr>
          <p:grpSpPr>
            <a:xfrm>
              <a:off x="228600" y="262182"/>
              <a:ext cx="8692119" cy="6351831"/>
              <a:chOff x="183903" y="180292"/>
              <a:chExt cx="8781569" cy="6513584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52C03348-E175-7CD3-C65D-2B91420300ED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183903" y="193967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7CEB5AE0-D7F9-24B3-3F55-EAD4936DE720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CCBF3CF-1320-1825-82D3-FFB0F5118D57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EA5C776A-ECFE-98F6-5B3A-D6D8974B406D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16662737-0AD5-7280-5D9B-CF89703505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1DC6945-E9B5-705B-9091-5A942DA37DC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arim dit « Oui, j’ai des crayons de couleur. » </a:t>
            </a:r>
          </a:p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veut répéter ?  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7ECD2BEE-79D4-C128-9212-507D97CC540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612567" y="2103721"/>
            <a:ext cx="5056580" cy="1470468"/>
          </a:xfrm>
          <a:prstGeom prst="wedgeEllipseCallout">
            <a:avLst>
              <a:gd name="adj1" fmla="val 9329"/>
              <a:gd name="adj2" fmla="val 74578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ui</a:t>
            </a: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’ai</a:t>
            </a: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s crayons de couleur.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E0DCF92-953B-F38B-9536-9DA3D27B2DF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CC1D08F8-83EF-454D-C399-8735FFBED80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0"/>
          <a:stretch>
            <a:fillRect/>
          </a:stretch>
        </p:blipFill>
        <p:spPr>
          <a:xfrm flipH="1">
            <a:off x="7511121" y="4586287"/>
            <a:ext cx="3357579" cy="4280923"/>
          </a:xfrm>
          <a:prstGeom prst="rect">
            <a:avLst/>
          </a:prstGeom>
        </p:spPr>
      </p:pic>
      <p:pic>
        <p:nvPicPr>
          <p:cNvPr id="14" name="Image 13" descr="Une image contenant chaussures, garçon, habits, personne&#10;&#10;Description générée automatiquement">
            <a:extLst>
              <a:ext uri="{FF2B5EF4-FFF2-40B4-BE49-F238E27FC236}">
                <a16:creationId xmlns:a16="http://schemas.microsoft.com/office/drawing/2014/main" id="{08025CFB-68E3-58E7-15D6-6DEEC4AB1420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110" t="50812" r="67028" b="3274"/>
          <a:stretch/>
        </p:blipFill>
        <p:spPr>
          <a:xfrm flipH="1">
            <a:off x="3312413" y="3844602"/>
            <a:ext cx="5573271" cy="5080291"/>
          </a:xfrm>
          <a:prstGeom prst="rect">
            <a:avLst/>
          </a:prstGeom>
        </p:spPr>
      </p:pic>
      <p:pic>
        <p:nvPicPr>
          <p:cNvPr id="13" name="Picture 2" descr="12,300+ Right Wrong Stock Illustrations, Royalty-Free Vector ...">
            <a:extLst>
              <a:ext uri="{FF2B5EF4-FFF2-40B4-BE49-F238E27FC236}">
                <a16:creationId xmlns:a16="http://schemas.microsoft.com/office/drawing/2014/main" id="{6FD051C8-DEEB-5F7B-46D7-886B6FE1B714}"/>
              </a:ext>
            </a:extLst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 rotWithShape="1">
          <a:blip r:embed="rId2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2074684" y="4759303"/>
            <a:ext cx="1405443" cy="174073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4BC4FEBA-E199-A40E-6578-5E77AED84E7E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 descr="Une image contenant Caractère coloré, art, crayon&#10;&#10;Description générée automatiquement">
            <a:extLst>
              <a:ext uri="{FF2B5EF4-FFF2-40B4-BE49-F238E27FC236}">
                <a16:creationId xmlns:a16="http://schemas.microsoft.com/office/drawing/2014/main" id="{84E3BB04-3D45-3AE0-8BB7-BE2C253FDF78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4684" y="6578916"/>
            <a:ext cx="1533441" cy="1671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91728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3596F9-47DB-688D-484A-D15B5942C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8">
            <a:extLst>
              <a:ext uri="{FF2B5EF4-FFF2-40B4-BE49-F238E27FC236}">
                <a16:creationId xmlns:a16="http://schemas.microsoft.com/office/drawing/2014/main" id="{B43E4095-B2B6-62C2-06F2-AA61DB84714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38184" y="685427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DB021DC-6A8E-E6C0-4C74-4D0E042445C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58651" y="592289"/>
            <a:ext cx="12139061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intenant, vous allez jouer l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e dialogue. </a:t>
            </a:r>
          </a:p>
          <a:p>
            <a:pPr marL="0" marR="0" lvl="0" indent="0" algn="l" defTabSz="914445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Je vais afficher des images pour vous aider. 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A449718-BA4F-DB5F-D50A-EB9F4836FDF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83528" y="2969938"/>
            <a:ext cx="7493969" cy="4847109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A186232E-2457-1425-3A9F-0FE81D38DB5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820051" y="614060"/>
            <a:ext cx="1274595" cy="1407186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450BBED6-00F0-C0E0-AF8C-59A0E9DF8A49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68011662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978890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8AC7FB-3A1A-E1EC-BAC2-423EE0794C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8">
            <a:extLst>
              <a:ext uri="{FF2B5EF4-FFF2-40B4-BE49-F238E27FC236}">
                <a16:creationId xmlns:a16="http://schemas.microsoft.com/office/drawing/2014/main" id="{9C3B2046-CA53-8514-616B-6A5F814C7D1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38184" y="794282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FABAF63-6006-02C6-A006-D0E55369A0E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58651" y="665763"/>
            <a:ext cx="78255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passer au tableau pour jouer le dialogue  ?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B48B2302-BCBB-63D5-AED2-B7CF5EBD366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814459" y="566827"/>
            <a:ext cx="2263358" cy="1463943"/>
          </a:xfrm>
          <a:prstGeom prst="rect">
            <a:avLst/>
          </a:prstGeom>
        </p:spPr>
      </p:pic>
      <p:sp>
        <p:nvSpPr>
          <p:cNvPr id="4" name="ZoneTexte 4">
            <a:extLst>
              <a:ext uri="{FF2B5EF4-FFF2-40B4-BE49-F238E27FC236}">
                <a16:creationId xmlns:a16="http://schemas.microsoft.com/office/drawing/2014/main" id="{C2E3C14A-795E-E4EC-E546-A9EB04B1EAF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031206" y="3426759"/>
            <a:ext cx="8884691" cy="412420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Aft>
                <a:spcPts val="1200"/>
              </a:spcAft>
              <a:buFontTx/>
              <a:buChar char="-"/>
              <a:defRPr/>
            </a:pPr>
            <a:r>
              <a:rPr lang="fr-FR" sz="2800" b="1" kern="100" spc="425" dirty="0">
                <a:solidFill>
                  <a:srgbClr val="106585"/>
                </a:solidFill>
                <a:latin typeface="Dosis" pitchFamily="2" charset="0"/>
              </a:rPr>
              <a:t>Est-ce que tu as des ciseaux ?</a:t>
            </a:r>
          </a:p>
          <a:p>
            <a:pPr marL="457200" marR="0" lvl="0" indent="-45720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r>
              <a:rPr lang="fr-FR" sz="2800" b="1" kern="100" spc="425" dirty="0">
                <a:solidFill>
                  <a:srgbClr val="4290CA"/>
                </a:solidFill>
                <a:latin typeface="Dosis" pitchFamily="2" charset="0"/>
              </a:rPr>
              <a:t>Oui, j’ai des ciseaux.</a:t>
            </a:r>
          </a:p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endParaRPr lang="fr-FR" sz="1200" b="1" kern="100" spc="425" dirty="0">
              <a:solidFill>
                <a:srgbClr val="106585"/>
              </a:solidFill>
              <a:latin typeface="Dosis" pitchFamily="2" charset="0"/>
            </a:endParaRPr>
          </a:p>
          <a:p>
            <a:pPr marL="457200" marR="0" lvl="0" indent="-45720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sz="2800" b="1" i="0" u="none" strike="noStrike" kern="100" cap="none" spc="425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Est-ce que tu as une gomme ?</a:t>
            </a:r>
          </a:p>
          <a:p>
            <a:pPr marL="457200" indent="-457200">
              <a:spcAft>
                <a:spcPts val="1200"/>
              </a:spcAft>
              <a:buFontTx/>
              <a:buChar char="-"/>
              <a:defRPr/>
            </a:pPr>
            <a:r>
              <a:rPr lang="fr-FR" sz="2800" b="1" kern="100" spc="425" dirty="0">
                <a:solidFill>
                  <a:srgbClr val="4290CA"/>
                </a:solidFill>
                <a:latin typeface="Dosis" pitchFamily="2" charset="0"/>
              </a:rPr>
              <a:t>Non, je n’ai pas de gomme. </a:t>
            </a:r>
          </a:p>
          <a:p>
            <a:pPr>
              <a:spcAft>
                <a:spcPts val="1200"/>
              </a:spcAft>
              <a:defRPr/>
            </a:pPr>
            <a:endParaRPr lang="fr-FR" sz="1200" b="1" kern="100" spc="425" dirty="0">
              <a:solidFill>
                <a:srgbClr val="106585"/>
              </a:solidFill>
              <a:latin typeface="Dosis" pitchFamily="2" charset="0"/>
            </a:endParaRPr>
          </a:p>
          <a:p>
            <a:pPr marL="457200" indent="-457200">
              <a:spcAft>
                <a:spcPts val="1200"/>
              </a:spcAft>
              <a:buFontTx/>
              <a:buChar char="-"/>
              <a:defRPr/>
            </a:pPr>
            <a:r>
              <a:rPr lang="fr-FR" sz="2800" b="1" kern="100" spc="425" dirty="0">
                <a:solidFill>
                  <a:srgbClr val="106585"/>
                </a:solidFill>
                <a:latin typeface="Dosis" pitchFamily="2" charset="0"/>
              </a:rPr>
              <a:t>Est-ce que tu as des crayons de couleur ?</a:t>
            </a:r>
          </a:p>
          <a:p>
            <a:pPr marL="457200" indent="-457200">
              <a:spcAft>
                <a:spcPts val="1200"/>
              </a:spcAft>
              <a:buFontTx/>
              <a:buChar char="-"/>
              <a:defRPr/>
            </a:pPr>
            <a:r>
              <a:rPr lang="fr-FR" sz="2800" b="1" kern="100" spc="425" dirty="0">
                <a:solidFill>
                  <a:srgbClr val="4290CA"/>
                </a:solidFill>
                <a:latin typeface="Dosis" pitchFamily="2" charset="0"/>
              </a:rPr>
              <a:t>Oui, j’ai des crayons de couleur.</a:t>
            </a:r>
          </a:p>
        </p:txBody>
      </p:sp>
      <p:graphicFrame>
        <p:nvGraphicFramePr>
          <p:cNvPr id="18" name="Tableau 17">
            <a:extLst>
              <a:ext uri="{FF2B5EF4-FFF2-40B4-BE49-F238E27FC236}">
                <a16:creationId xmlns:a16="http://schemas.microsoft.com/office/drawing/2014/main" id="{31AA1BBF-7DC0-4126-399B-833B40B697CF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68011662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86247384-EFC0-A54A-C8E4-945D6819A17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2144474" y="3215266"/>
            <a:ext cx="1513124" cy="151675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886725B4-A1C7-EDB2-CE46-7B87A28708DA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2139009" y="4667969"/>
            <a:ext cx="1534896" cy="1534896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63155BCB-EBCB-BEE2-98CC-905486EFED25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2154249" y="6272552"/>
            <a:ext cx="1527639" cy="153126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79204402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9817C1-4B44-741B-B708-16517BF524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8">
            <a:extLst>
              <a:ext uri="{FF2B5EF4-FFF2-40B4-BE49-F238E27FC236}">
                <a16:creationId xmlns:a16="http://schemas.microsoft.com/office/drawing/2014/main" id="{6781634B-2368-C9A5-24BB-0AC4C834918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38184" y="794282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4" name="ZoneTexte 4">
            <a:extLst>
              <a:ext uri="{FF2B5EF4-FFF2-40B4-BE49-F238E27FC236}">
                <a16:creationId xmlns:a16="http://schemas.microsoft.com/office/drawing/2014/main" id="{8537BF07-2BB7-AA79-FB6E-63CB1A4891A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031206" y="3426759"/>
            <a:ext cx="8884691" cy="412420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Aft>
                <a:spcPts val="1200"/>
              </a:spcAft>
              <a:buFontTx/>
              <a:buChar char="-"/>
              <a:defRPr/>
            </a:pPr>
            <a:r>
              <a:rPr lang="fr-FR" sz="2800" b="1" kern="100" spc="425" dirty="0">
                <a:solidFill>
                  <a:srgbClr val="106585"/>
                </a:solidFill>
                <a:latin typeface="Dosis" pitchFamily="2" charset="0"/>
              </a:rPr>
              <a:t>Est-ce que tu as des ciseaux ?</a:t>
            </a:r>
          </a:p>
          <a:p>
            <a:pPr marL="457200" marR="0" lvl="0" indent="-45720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r>
              <a:rPr lang="fr-FR" sz="2800" b="1" kern="100" spc="425" dirty="0">
                <a:solidFill>
                  <a:srgbClr val="4290CA"/>
                </a:solidFill>
                <a:latin typeface="Dosis" pitchFamily="2" charset="0"/>
              </a:rPr>
              <a:t>Oui, j’ai (…). / Non, je n’ai pas (…).</a:t>
            </a:r>
          </a:p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endParaRPr lang="fr-FR" sz="1200" b="1" kern="100" spc="425" dirty="0">
              <a:solidFill>
                <a:srgbClr val="106585"/>
              </a:solidFill>
              <a:latin typeface="Dosis" pitchFamily="2" charset="0"/>
            </a:endParaRPr>
          </a:p>
          <a:p>
            <a:pPr marL="457200" marR="0" lvl="0" indent="-45720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sz="2800" b="1" i="0" u="none" strike="noStrike" kern="100" cap="none" spc="425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Est-ce que tu as une gomme ?</a:t>
            </a:r>
          </a:p>
          <a:p>
            <a:pPr marL="457200" marR="0" lvl="0" indent="-45720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r>
              <a:rPr lang="fr-FR" sz="2800" b="1" kern="100" spc="425" dirty="0">
                <a:solidFill>
                  <a:srgbClr val="4290CA"/>
                </a:solidFill>
                <a:latin typeface="Dosis" pitchFamily="2" charset="0"/>
              </a:rPr>
              <a:t>Oui, j’ai (…). / Non, je n’ai pas (…).</a:t>
            </a:r>
          </a:p>
          <a:p>
            <a:pPr>
              <a:spcAft>
                <a:spcPts val="1200"/>
              </a:spcAft>
              <a:defRPr/>
            </a:pPr>
            <a:endParaRPr lang="fr-FR" sz="1200" b="1" kern="100" spc="425" dirty="0">
              <a:solidFill>
                <a:srgbClr val="106585"/>
              </a:solidFill>
              <a:latin typeface="Dosis" pitchFamily="2" charset="0"/>
            </a:endParaRPr>
          </a:p>
          <a:p>
            <a:pPr marL="457200" indent="-457200">
              <a:spcAft>
                <a:spcPts val="1200"/>
              </a:spcAft>
              <a:buFontTx/>
              <a:buChar char="-"/>
              <a:defRPr/>
            </a:pPr>
            <a:r>
              <a:rPr lang="fr-FR" sz="2800" b="1" kern="100" spc="425" dirty="0">
                <a:solidFill>
                  <a:srgbClr val="106585"/>
                </a:solidFill>
                <a:latin typeface="Dosis" pitchFamily="2" charset="0"/>
              </a:rPr>
              <a:t>Est-ce que tu as des crayons de couleur ?</a:t>
            </a:r>
          </a:p>
          <a:p>
            <a:pPr marL="457200" marR="0" lvl="0" indent="-45720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  <a:defRPr/>
            </a:pPr>
            <a:r>
              <a:rPr lang="fr-FR" sz="2800" b="1" kern="100" spc="425" dirty="0">
                <a:solidFill>
                  <a:srgbClr val="4290CA"/>
                </a:solidFill>
                <a:latin typeface="Dosis" pitchFamily="2" charset="0"/>
              </a:rPr>
              <a:t>Oui, j’ai (…). / Non, je n’ai pas (…).</a:t>
            </a:r>
          </a:p>
        </p:txBody>
      </p:sp>
      <p:graphicFrame>
        <p:nvGraphicFramePr>
          <p:cNvPr id="18" name="Tableau 17">
            <a:extLst>
              <a:ext uri="{FF2B5EF4-FFF2-40B4-BE49-F238E27FC236}">
                <a16:creationId xmlns:a16="http://schemas.microsoft.com/office/drawing/2014/main" id="{FD674772-C7D6-3408-877D-F88CFC615CEC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2318DA53-6AB3-39D1-7A63-FC7BC408690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2144474" y="3215266"/>
            <a:ext cx="1513124" cy="151675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81686CF1-A22E-B00C-A6C6-9AC0C0C9722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2139009" y="4667969"/>
            <a:ext cx="1534896" cy="1534896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CF0B5D70-CC2A-9FE1-B4A2-18975547C4B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2154249" y="6272552"/>
            <a:ext cx="1527639" cy="153126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44B634FB-4173-E9CF-0CDF-33866C0C20C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576939" y="531831"/>
            <a:ext cx="11296099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intenant, vous allez jouer le dialogue avec votre camarade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.</a:t>
            </a:r>
          </a:p>
          <a:p>
            <a:pPr marL="0" marR="0" lvl="0" indent="0" algn="l" defTabSz="914445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Je vais passer entre les rangs pour vous aider. 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B5AACEC-59DF-38C7-81D7-142623BBC078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323"/>
          <a:stretch/>
        </p:blipFill>
        <p:spPr>
          <a:xfrm>
            <a:off x="11141342" y="666872"/>
            <a:ext cx="1995437" cy="1218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65672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7C2245-F486-D1D7-E3D4-9FA95ED79C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60A7A3D6-D4D4-CC8A-BA9B-80C35DFABE8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344E9FFE-8356-1D18-B264-436E99C28CF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12633" y="2857500"/>
            <a:ext cx="10416929" cy="510139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1.  Rituel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Révision du vocabulaire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2. Acte de parole 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Est-ce que tu as… ?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Oui, j’ai … / Non, je n’ai pas … 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cs typeface="Calibri" panose="020F0502020204030204" pitchFamily="34" charset="0"/>
              </a:rPr>
              <a:t>3. Écriture 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Écrire des syllabes et des mots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9C1D849F-3B5F-61B1-897E-E1FF716F33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FC15F88-B596-9CA2-3025-B9427E06151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739DBF0-417B-F941-918F-006125B83B5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77895" y="6664994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0D684207-5370-B0B9-4E7D-2DCF37AFFC7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32131" y="1140774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5</a:t>
            </a:r>
          </a:p>
        </p:txBody>
      </p:sp>
    </p:spTree>
    <p:extLst>
      <p:ext uri="{BB962C8B-B14F-4D97-AF65-F5344CB8AC3E}">
        <p14:creationId xmlns:p14="http://schemas.microsoft.com/office/powerpoint/2010/main" val="73097198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-8015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274939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00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5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4971621" y="2167870"/>
            <a:ext cx="5029200" cy="49738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00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relia"/>
                <a:ea typeface="+mn-ea"/>
                <a:cs typeface="+mn-cs"/>
              </a:rPr>
              <a:t>Objectifs de l’activité </a:t>
            </a:r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C1D261BA-3ABE-2DE1-E789-F4046D0C83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0800000" flipH="1">
            <a:off x="1381346" y="3467100"/>
            <a:ext cx="11039254" cy="3304116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395C32B6-3F71-2033-BA88-FCA970C59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615091" y="3556128"/>
            <a:ext cx="706508" cy="3166298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 l="-109199" t="-6937" r="-896458" b="-829367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3B066AEB-6B71-642E-1C2E-E7CACD2CBDB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1767488" y="4418770"/>
            <a:ext cx="504425" cy="549067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686236" y="441300"/>
            <a:ext cx="6643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6D1AA5F5-9721-BDFB-5D84-C9B03241E66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771775" y="4525823"/>
            <a:ext cx="9329134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defTabSz="685800">
              <a:lnSpc>
                <a:spcPts val="3026"/>
              </a:lnSpc>
              <a:spcAft>
                <a:spcPts val="600"/>
              </a:spcAft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Écrire </a:t>
            </a:r>
            <a:r>
              <a:rPr lang="fr-FR" sz="28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des syllabes et des mots simples contenant l</a:t>
            </a: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a lettre </a:t>
            </a:r>
            <a:r>
              <a:rPr lang="fr-FR" sz="28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m. </a:t>
            </a:r>
            <a:endParaRPr kumimoji="0" lang="fr-FR" sz="28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456109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e 14">
            <a:extLst>
              <a:ext uri="{FF2B5EF4-FFF2-40B4-BE49-F238E27FC236}">
                <a16:creationId xmlns:a16="http://schemas.microsoft.com/office/drawing/2014/main" id="{050B2665-851D-5817-D641-7774DA338992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1"/>
            <a:ext cx="13716000" cy="10286999"/>
            <a:chOff x="0" y="1"/>
            <a:chExt cx="9144000" cy="6857999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F436113-2632-84B4-3579-C1E413C2C5B1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7" name="Groupe 16">
              <a:extLst>
                <a:ext uri="{FF2B5EF4-FFF2-40B4-BE49-F238E27FC236}">
                  <a16:creationId xmlns:a16="http://schemas.microsoft.com/office/drawing/2014/main" id="{E6C9AB5C-6CBB-BD2F-C21F-876A5C4DE4B8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18" name="Rectangle : coins arrondis 17">
                <a:extLst>
                  <a:ext uri="{FF2B5EF4-FFF2-40B4-BE49-F238E27FC236}">
                    <a16:creationId xmlns:a16="http://schemas.microsoft.com/office/drawing/2014/main" id="{CE49FEBD-08A4-E378-78EE-49BEF6B114FD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9" name="Groupe 18">
                <a:extLst>
                  <a:ext uri="{FF2B5EF4-FFF2-40B4-BE49-F238E27FC236}">
                    <a16:creationId xmlns:a16="http://schemas.microsoft.com/office/drawing/2014/main" id="{BA9739E2-6692-63F8-F68E-EDFC00C2A013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1" name="Rectangle : coins arrondis 20">
                  <a:extLst>
                    <a:ext uri="{FF2B5EF4-FFF2-40B4-BE49-F238E27FC236}">
                      <a16:creationId xmlns:a16="http://schemas.microsoft.com/office/drawing/2014/main" id="{4FCE06C6-1C3D-35EC-6CDA-CD3DEC2FBCBC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ADA6DB58-6797-11BB-A452-C76C8A378BE8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63EB4A4-3A46-952B-7425-A46965B3E7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42900" y="1485901"/>
            <a:ext cx="13030201" cy="7179961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srgbClr val="106585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4" name="Freeform 8">
            <a:extLst>
              <a:ext uri="{FF2B5EF4-FFF2-40B4-BE49-F238E27FC236}">
                <a16:creationId xmlns:a16="http://schemas.microsoft.com/office/drawing/2014/main" id="{F5D87277-E5EA-C0A4-8119-DDB47AEE16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47069" y="686877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FCE2818-BE99-1687-1E2F-E68CB9A97D4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85899" y="534339"/>
            <a:ext cx="11529396" cy="869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’est la lettre m. Elle fait le son «m ».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i veut répéter « m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» ? </a:t>
            </a:r>
          </a:p>
        </p:txBody>
      </p:sp>
      <p:graphicFrame>
        <p:nvGraphicFramePr>
          <p:cNvPr id="23" name="Tableau 22">
            <a:extLst>
              <a:ext uri="{FF2B5EF4-FFF2-40B4-BE49-F238E27FC236}">
                <a16:creationId xmlns:a16="http://schemas.microsoft.com/office/drawing/2014/main" id="{0FFEF522-D194-32CD-5357-D4DA01C3DABB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09242A7C-F3FB-76D9-E671-71EF41D77A98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4D6F09EA-E9C0-A1C1-7551-8F0BC9868ED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57186" y="2336669"/>
            <a:ext cx="13030200" cy="547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5000" b="1" dirty="0">
                <a:solidFill>
                  <a:srgbClr val="106584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</a:t>
            </a:r>
            <a:endParaRPr kumimoji="0" lang="fr-FR" sz="350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97760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1EBB02-66E0-BC44-CFBF-AF5753A0E4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A14E5E26-49E5-0FCB-F3B0-F46A980E63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94932" y="802378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9F2B024D-CEA4-67C4-A4AC-4802E014850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71600" y="723900"/>
            <a:ext cx="116176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’est la lettre 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à côté de la lettre a, ça fait le son « ma ». 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A1029A93-BA06-8D03-1EC6-48B90135A57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57186" y="2336669"/>
            <a:ext cx="13030200" cy="547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50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KG Primary Penmanship Alt" panose="02000506000000020003" pitchFamily="2" charset="0"/>
                <a:ea typeface="Calibri" panose="020F0502020204030204" pitchFamily="34" charset="0"/>
                <a:cs typeface="Calibri" panose="020F0502020204030204" pitchFamily="34" charset="0"/>
              </a:rPr>
              <a:t>ma</a:t>
            </a:r>
            <a:endParaRPr kumimoji="0" lang="fr-FR" sz="350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KG Primary Penmanship Alt" panose="02000506000000020003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F5A249A3-48E7-2FD7-F1CE-277C58BDE66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3C181550-7BAB-5C91-6BA9-B25916E32D6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6823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13485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6"/>
            <a:stretch>
              <a:fillRect t="-5555" b="-5555"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/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6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3276600" y="2476501"/>
            <a:ext cx="8019621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Conventions pour l’usage des support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9601" y="52873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/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1" name="Freeform 7">
            <a:extLst>
              <a:ext uri="{FF2B5EF4-FFF2-40B4-BE49-F238E27FC236}">
                <a16:creationId xmlns:a16="http://schemas.microsoft.com/office/drawing/2014/main" id="{7289EC27-7BBE-1564-F14F-8F211F9440E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776932" y="366680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02180162-B144-7FD4-BB9F-A0EAFFD8A3D0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66524" y="3762221"/>
            <a:ext cx="1374914" cy="762000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5B715999-34C4-2141-4830-610FF1FFFA4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606084" y="3955716"/>
            <a:ext cx="5416073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Pages réservées à l’enseignant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3F8696B5-768D-1B28-07DD-B75235E312F3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66524" y="5351607"/>
            <a:ext cx="1374914" cy="762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10E672A-213D-5DC3-723E-374E0022336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606083" y="5545103"/>
            <a:ext cx="8401995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Explications et consignes à dire aux élèves</a:t>
            </a:r>
          </a:p>
        </p:txBody>
      </p:sp>
      <p:sp>
        <p:nvSpPr>
          <p:cNvPr id="21" name="Freeform 8">
            <a:extLst>
              <a:ext uri="{FF2B5EF4-FFF2-40B4-BE49-F238E27FC236}">
                <a16:creationId xmlns:a16="http://schemas.microsoft.com/office/drawing/2014/main" id="{953CC148-4B93-BBCE-4E28-D9EC27DDD16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 rot="10800000" flipH="1">
            <a:off x="1910312" y="5545103"/>
            <a:ext cx="929375" cy="627953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/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023503FF-8B75-175E-D636-720EC89779C2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76601" y="7033208"/>
            <a:ext cx="1374914" cy="762000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5E1446DD-0BB2-867F-17EC-2511CA95D91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713291" y="7169141"/>
            <a:ext cx="8019621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Audio enregistré (déclenchement automatique)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2ABBF97-DB21-AAF2-60D3-362648DC1197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1718466" y="6989980"/>
            <a:ext cx="1543266" cy="1171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1832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F5D87277-E5EA-C0A4-8119-DDB47AEE168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67983" y="794389"/>
            <a:ext cx="345516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FCE2818-BE99-1687-1E2F-E68CB9A97D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71588" y="616270"/>
            <a:ext cx="10632983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e vais écrire la syllabe « ma » sur le tableau. Regardez comment je fais.</a:t>
            </a: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0AA8F882-86C9-058D-06A8-240185C8A99F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8" name="Image 17">
            <a:extLst>
              <a:ext uri="{FF2B5EF4-FFF2-40B4-BE49-F238E27FC236}">
                <a16:creationId xmlns:a16="http://schemas.microsoft.com/office/drawing/2014/main" id="{18DE32DE-2055-3762-8F39-4BD22514AF8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/>
          <a:srcRect t="-1" r="20017" b="6507"/>
          <a:stretch/>
        </p:blipFill>
        <p:spPr>
          <a:xfrm>
            <a:off x="11904571" y="646795"/>
            <a:ext cx="1301897" cy="1238825"/>
          </a:xfrm>
          <a:prstGeom prst="ellipse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1C759AF8-2F1F-3B6D-D326-1F63DC236F3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7186" y="2336669"/>
            <a:ext cx="13030200" cy="547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50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KG Primary Penmanship Alt" panose="02000506000000020003" pitchFamily="2" charset="0"/>
                <a:ea typeface="Calibri" panose="020F0502020204030204" pitchFamily="34" charset="0"/>
                <a:cs typeface="Calibri" panose="020F0502020204030204" pitchFamily="34" charset="0"/>
              </a:rPr>
              <a:t>ma</a:t>
            </a:r>
            <a:endParaRPr kumimoji="0" lang="fr-FR" sz="350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KG Primary Penmanship Alt" panose="02000506000000020003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88505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F5D87277-E5EA-C0A4-8119-DDB47AEE168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18223" y="805363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FCE2818-BE99-1687-1E2F-E68CB9A97D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28849" y="717737"/>
            <a:ext cx="120237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Prenez vos ardoises.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66ED6EF-AFFD-DF1E-A521-AC8DEF56AD72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86735" y="2445399"/>
            <a:ext cx="6057078" cy="4682945"/>
          </a:xfrm>
          <a:prstGeom prst="rect">
            <a:avLst/>
          </a:prstGeom>
        </p:spPr>
      </p:pic>
      <p:graphicFrame>
        <p:nvGraphicFramePr>
          <p:cNvPr id="21" name="Tableau 20">
            <a:extLst>
              <a:ext uri="{FF2B5EF4-FFF2-40B4-BE49-F238E27FC236}">
                <a16:creationId xmlns:a16="http://schemas.microsoft.com/office/drawing/2014/main" id="{1235AB2B-3D73-F1B1-C598-5EAB077DE5FD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7F2BFFC0-6AB5-DD6B-ECA0-FB9E9EFD9D3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9863" y="684420"/>
            <a:ext cx="1306999" cy="1136829"/>
          </a:xfrm>
          <a:prstGeom prst="rect">
            <a:avLst/>
          </a:prstGeom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93768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F5D87277-E5EA-C0A4-8119-DDB47AEE168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23710" y="832063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FCE2818-BE99-1687-1E2F-E68CB9A97D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09864" y="571087"/>
            <a:ext cx="11296271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Écrivez la syllabe « ma ».</a:t>
            </a: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9DD199E0-E065-2581-4631-B9E400B5120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4B33BED6-6C5D-CBDF-B5B4-2334A686084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58040" y="795025"/>
            <a:ext cx="1658224" cy="919132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0F66E70D-0A6D-D96E-DDB0-2F6017F1798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7186" y="2336669"/>
            <a:ext cx="13030200" cy="547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50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KG Primary Penmanship Alt" panose="02000506000000020003" pitchFamily="2" charset="0"/>
                <a:ea typeface="Calibri" panose="020F0502020204030204" pitchFamily="34" charset="0"/>
                <a:cs typeface="Calibri" panose="020F0502020204030204" pitchFamily="34" charset="0"/>
              </a:rPr>
              <a:t>ma</a:t>
            </a:r>
            <a:endParaRPr kumimoji="0" lang="fr-FR" sz="350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KG Primary Penmanship Alt" panose="02000506000000020003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980095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96B78A-CF6D-7092-0124-373FADEC03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D00BA6A3-E15D-CEA4-0A6B-9A7062C625D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0400B04A-CC1E-622E-29FF-85BD4D0B650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C6DF2B3-0108-33A6-EF2D-EBD7245F1EDF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7EEC15A9-19DD-2727-61CF-86D6107B5725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07A9E8EA-3A9B-CC96-CE59-55A82A40D17E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A9E93467-CA91-BF87-0283-6674C68671BC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AF28B5DC-6B70-1C93-652D-0F60ADA5F435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D595A592-E71B-4180-D5AB-8DC2B2F052FF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E00D6B6D-F83D-1605-B384-4EF5618003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07451" y="85858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F23C8FB0-0D65-BD9F-B9D9-87482D9BE1F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01074" y="764132"/>
            <a:ext cx="96080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vez les ardoises.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EA3D1797-2ABA-3417-45E3-3D739B1851A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3939605" y="2961707"/>
            <a:ext cx="6089298" cy="4363587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600A0AA0-BF0C-0373-B1D3-F4C2934EB276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444004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186DDE-0C38-2442-B190-8FC8739CE7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B9B05159-7D94-7B6F-8D5F-4A6FBBADAE2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94932" y="802378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5475785-5FBC-465F-00B5-E6895BCAB14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71600" y="723900"/>
            <a:ext cx="116176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/i  mi. 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7D56CA9A-5D16-5512-FF2E-F38FFA49072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57186" y="2336669"/>
            <a:ext cx="13030200" cy="547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5000" b="1" dirty="0">
                <a:solidFill>
                  <a:srgbClr val="106584"/>
                </a:solidFill>
                <a:latin typeface="KG Primary Penmanship Alt" panose="02000506000000020003" pitchFamily="2" charset="0"/>
                <a:ea typeface="Calibri" panose="020F0502020204030204" pitchFamily="34" charset="0"/>
                <a:cs typeface="Calibri" panose="020F0502020204030204" pitchFamily="34" charset="0"/>
              </a:rPr>
              <a:t>mi</a:t>
            </a:r>
            <a:endParaRPr kumimoji="0" lang="fr-FR" sz="350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KG Primary Penmanship Alt" panose="02000506000000020003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0611DE31-7865-220A-1820-E45C43FD57C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C08B8044-A2D7-7F67-A0D4-483F49F9DD0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54322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1E6036-A630-D7DD-E42B-C6E4DD74C0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DB669EF1-9808-41F3-9BAB-1C4A294EA75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67983" y="794389"/>
            <a:ext cx="345516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3BD3391-FDC1-061E-9D92-7910E8B973D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71588" y="616270"/>
            <a:ext cx="10632983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e vais écrire la syllabe « mi » sur le tableau. Regardez comment je fais.</a:t>
            </a: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A9843364-F967-2886-634D-F6E55278224C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8" name="Image 17">
            <a:extLst>
              <a:ext uri="{FF2B5EF4-FFF2-40B4-BE49-F238E27FC236}">
                <a16:creationId xmlns:a16="http://schemas.microsoft.com/office/drawing/2014/main" id="{3514E71D-3E89-CDC9-5C79-6EC45B836AA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/>
          <a:srcRect t="-1" r="20017" b="6507"/>
          <a:stretch/>
        </p:blipFill>
        <p:spPr>
          <a:xfrm>
            <a:off x="11904571" y="646795"/>
            <a:ext cx="1301897" cy="1238825"/>
          </a:xfrm>
          <a:prstGeom prst="ellipse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1DAA9D67-E9D0-21A0-3B4B-6A873F98A0D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7186" y="2336669"/>
            <a:ext cx="13030200" cy="547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5000" b="1" dirty="0">
                <a:solidFill>
                  <a:srgbClr val="106584"/>
                </a:solidFill>
                <a:latin typeface="KG Primary Penmanship Alt" panose="02000506000000020003" pitchFamily="2" charset="0"/>
                <a:ea typeface="Calibri" panose="020F0502020204030204" pitchFamily="34" charset="0"/>
                <a:cs typeface="Calibri" panose="020F0502020204030204" pitchFamily="34" charset="0"/>
              </a:rPr>
              <a:t>mi</a:t>
            </a:r>
            <a:endParaRPr kumimoji="0" lang="fr-FR" sz="350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KG Primary Penmanship Alt" panose="02000506000000020003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96537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90176A-DEF3-12C6-4C45-48386D157D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EBE6B1D2-0FD5-2941-58E6-B500EE8984E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18223" y="805363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99370B2F-BCD9-C6EB-E554-57D0E4DAEAF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28849" y="717737"/>
            <a:ext cx="120237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Prenez vos ardoises.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4BF7283B-05B1-AA7E-3D00-5D0708BEB93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86735" y="2445399"/>
            <a:ext cx="6057078" cy="4682945"/>
          </a:xfrm>
          <a:prstGeom prst="rect">
            <a:avLst/>
          </a:prstGeom>
        </p:spPr>
      </p:pic>
      <p:graphicFrame>
        <p:nvGraphicFramePr>
          <p:cNvPr id="21" name="Tableau 20">
            <a:extLst>
              <a:ext uri="{FF2B5EF4-FFF2-40B4-BE49-F238E27FC236}">
                <a16:creationId xmlns:a16="http://schemas.microsoft.com/office/drawing/2014/main" id="{9E38599C-CFDA-1607-083B-25F5003074A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80B1BD19-4F55-18FA-38F1-B21CE4E6D12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9863" y="684420"/>
            <a:ext cx="1306999" cy="1136829"/>
          </a:xfrm>
          <a:prstGeom prst="rect">
            <a:avLst/>
          </a:prstGeom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0238139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7D9A10-3C76-3D68-E860-4131A7A5A5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A1233F29-1ED3-7B18-6B14-8D6F4FD932D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23710" y="832063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1D97109A-C401-BC85-4410-7E79654DCBE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09864" y="571087"/>
            <a:ext cx="11296271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Écrivez la syllabe « mi ».</a:t>
            </a: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EA3F6B1A-3A9D-22CC-AAEE-745967AF6A3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9A89C9F7-A65F-9A23-4D64-DC6F79BD03E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58040" y="795025"/>
            <a:ext cx="1658224" cy="919132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618B1C3B-CF2D-15F9-98DF-317487AF909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7186" y="2336669"/>
            <a:ext cx="13030200" cy="547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5000" b="1" dirty="0">
                <a:solidFill>
                  <a:srgbClr val="106584"/>
                </a:solidFill>
                <a:latin typeface="KG Primary Penmanship Alt" panose="02000506000000020003" pitchFamily="2" charset="0"/>
                <a:ea typeface="Calibri" panose="020F0502020204030204" pitchFamily="34" charset="0"/>
                <a:cs typeface="Calibri" panose="020F0502020204030204" pitchFamily="34" charset="0"/>
              </a:rPr>
              <a:t>mi</a:t>
            </a:r>
            <a:endParaRPr kumimoji="0" lang="fr-FR" sz="350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KG Primary Penmanship Alt" panose="02000506000000020003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50837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BCC0CD-274E-0F47-1F14-7FB4EBA36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F8FA7977-F9D4-1C34-3FA6-B105D66470F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0B179008-11B4-5199-4D88-9DC558B44E1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F6998F1-35C8-409B-C711-4C3164622051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B1F7DBBC-152B-83A9-1DD6-9A1FF1895767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1C236BE3-5ED4-6C55-BE9F-6A10ECB5AB19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AF8F1AD8-6EB0-3A0A-70CA-202C83062D36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8F18B0F5-52A6-69DE-4702-AEAB54C51233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12A9BBA4-B4AE-38C3-2329-F6AB5527CD8B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291C15A0-4E0D-6C0C-3144-D61BB437DC4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07451" y="85858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6BB8EF22-C2ED-6F10-60E3-B139C9B4A32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01074" y="764132"/>
            <a:ext cx="96080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vez les ardoises.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30ECFAD-9752-5FE6-8A58-A979EBD2150A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3939605" y="2961707"/>
            <a:ext cx="6089298" cy="4363587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DA017975-4883-29CB-AA3C-A4D9E6301823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947830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37ABFF-2E02-B738-9B4B-CFC25BBAB8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C9FD50F6-7190-01BA-A9AD-064D654D5EB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94932" y="802378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72F08315-65A5-8A19-0C5F-D772695CAF8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71600" y="723900"/>
            <a:ext cx="116176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’est le mot ma/mi mamie. </a:t>
            </a: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960D4862-2433-FCD7-979F-AC61EAEBD76F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9D0024CE-0CD3-BBB4-CDB0-9D990A07201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E947DD0-047E-963E-93B2-5038BDADD27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900" y="3542606"/>
            <a:ext cx="13016058" cy="35548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500" b="1" dirty="0">
                <a:solidFill>
                  <a:srgbClr val="106585"/>
                </a:solidFill>
                <a:latin typeface="Dosis" pitchFamily="2" charset="0"/>
              </a:rPr>
              <a:t>mami</a:t>
            </a:r>
            <a:r>
              <a:rPr kumimoji="0" lang="pt-BR" sz="225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e</a:t>
            </a:r>
            <a:endParaRPr kumimoji="0" lang="fr-MA" sz="22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0" name="Parenthèse ouvrante 9">
            <a:extLst>
              <a:ext uri="{FF2B5EF4-FFF2-40B4-BE49-F238E27FC236}">
                <a16:creationId xmlns:a16="http://schemas.microsoft.com/office/drawing/2014/main" id="{1844E328-2736-9474-66B2-7A52287D3E9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16200000">
            <a:off x="4423470" y="5144940"/>
            <a:ext cx="425652" cy="3443285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  <p:sp>
        <p:nvSpPr>
          <p:cNvPr id="11" name="Parenthèse ouvrante 10">
            <a:extLst>
              <a:ext uri="{FF2B5EF4-FFF2-40B4-BE49-F238E27FC236}">
                <a16:creationId xmlns:a16="http://schemas.microsoft.com/office/drawing/2014/main" id="{FE8D62C1-12E1-2211-D86F-AE1AFFDEAB1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 rot="16200000">
            <a:off x="7831660" y="5522940"/>
            <a:ext cx="425654" cy="2687290"/>
          </a:xfrm>
          <a:prstGeom prst="leftBracket">
            <a:avLst>
              <a:gd name="adj" fmla="val 106746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MA" sz="1350" dirty="0"/>
          </a:p>
        </p:txBody>
      </p:sp>
    </p:spTree>
    <p:extLst>
      <p:ext uri="{BB962C8B-B14F-4D97-AF65-F5344CB8AC3E}">
        <p14:creationId xmlns:p14="http://schemas.microsoft.com/office/powerpoint/2010/main" val="39051327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EF84DB-06AD-D0E2-8538-3F09DE4C4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9D27F43D-2AAC-3924-3C8D-F1B03F83B31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828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3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B314923F-69FD-5D4C-611C-138FFCB9BA7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E5EB3374-A76C-2A54-6038-72818B2CDB51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1758D412-727A-87EE-D7AD-DF9242B11ED6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35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AFDA5764-B6A4-60C6-DCDA-6856AC1D5FD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4626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1EA470B7-E062-15E0-33DE-CF45AE1EF64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399060" y="1865441"/>
            <a:ext cx="7271961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35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ictogrammes pour la gestion de la leçon.  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D3FF3D4-5F97-F646-3844-63C78EA24D1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9601" y="52873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F9A451E6-42B1-DFF1-7AE4-A7F2056EC01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8491" y="4756182"/>
            <a:ext cx="37968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odelage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écoutent. 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4EE9A24F-D8C5-7E23-497C-A5D00EB35DF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000" y="2954900"/>
            <a:ext cx="1636031" cy="1631801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05BB7C58-97F4-D723-60E8-49521E84193F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4116140" y="2982989"/>
            <a:ext cx="2566257" cy="1711679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9EC96FEE-CB37-D47D-DC7D-94A02B44A06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592846" y="4828793"/>
            <a:ext cx="3304035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Questions directes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’enseignant désigne des élèves.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B73E3A4-703C-71EA-8A0D-2E42F69B21D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586454" y="2977902"/>
            <a:ext cx="1747521" cy="1466991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97A78D7E-4EA3-8F6B-EB49-9380B2CCBAA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379758" y="4770770"/>
            <a:ext cx="43085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pétition chorale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Toute la classe participe. 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ACD71421-7E63-0887-15F3-9B3C58CC5617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4320256" y="6354876"/>
            <a:ext cx="1849217" cy="1142676"/>
          </a:xfrm>
          <a:prstGeom prst="roundRect">
            <a:avLst>
              <a:gd name="adj" fmla="val 31362"/>
            </a:avLst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519DECAF-6F46-F2D9-3C43-0C5075904C4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377366" y="7796685"/>
            <a:ext cx="39154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assage au tableau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Un élève réalise la tâche.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91BAC82B-025C-D00A-B7BA-2FDECC2C4E40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313" y="6218106"/>
            <a:ext cx="1412672" cy="1337688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BC7C708A-7CF6-ABB8-7BF8-C9174CC9466A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04402" y="7824352"/>
            <a:ext cx="354956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cture silencieuse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A30520AD-873E-13AF-FDF7-426FBF1C62A8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225" y="6234380"/>
            <a:ext cx="1846817" cy="1291715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FC81664E-77EA-659F-4F1A-E015F091A3C5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7101466" y="7711353"/>
            <a:ext cx="3495701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ratique autonome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’enseignant circule entre les rangs.  </a:t>
            </a:r>
          </a:p>
        </p:txBody>
      </p:sp>
      <p:pic>
        <p:nvPicPr>
          <p:cNvPr id="18" name="Image 17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DA3012CF-2363-2ED8-3431-EDCB4ED9ADC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3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364686" y="6013321"/>
            <a:ext cx="1250264" cy="1512774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E9A6834E-AFB5-023D-9381-B94F5B6F48A0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10220479" y="7796189"/>
            <a:ext cx="33040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Observation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observent. </a:t>
            </a:r>
          </a:p>
        </p:txBody>
      </p: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DCA9C8A-9242-4256-6CC5-A41CF76EF40C}"/>
              </a:ext>
            </a:extLst>
          </p:cNvPr>
          <p:cNvGrpSpPr/>
          <p:nvPr>
            <p:custDataLst>
              <p:tags r:id="rId20"/>
            </p:custDataLst>
          </p:nvPr>
        </p:nvGrpSpPr>
        <p:grpSpPr>
          <a:xfrm>
            <a:off x="7355492" y="3122272"/>
            <a:ext cx="1961535" cy="1238864"/>
            <a:chOff x="7152968" y="2374490"/>
            <a:chExt cx="1961535" cy="1238864"/>
          </a:xfrm>
        </p:grpSpPr>
        <p:sp>
          <p:nvSpPr>
            <p:cNvPr id="21" name="Bulle narrative : ronde 20">
              <a:extLst>
                <a:ext uri="{FF2B5EF4-FFF2-40B4-BE49-F238E27FC236}">
                  <a16:creationId xmlns:a16="http://schemas.microsoft.com/office/drawing/2014/main" id="{9FF31181-CF52-0696-E904-1C18160AA31D}"/>
                </a:ext>
              </a:extLst>
            </p:cNvPr>
            <p:cNvSpPr/>
            <p:nvPr/>
          </p:nvSpPr>
          <p:spPr>
            <a:xfrm>
              <a:off x="7152968" y="2374490"/>
              <a:ext cx="1961535" cy="1224116"/>
            </a:xfrm>
            <a:prstGeom prst="wedgeEllipseCallou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3" name="Image 22">
              <a:extLst>
                <a:ext uri="{FF2B5EF4-FFF2-40B4-BE49-F238E27FC236}">
                  <a16:creationId xmlns:a16="http://schemas.microsoft.com/office/drawing/2014/main" id="{CEB0F0D4-5E2D-4A78-A130-A42049559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340077" y="2415547"/>
              <a:ext cx="1553200" cy="1197807"/>
            </a:xfrm>
            <a:prstGeom prst="rect">
              <a:avLst/>
            </a:prstGeom>
          </p:spPr>
        </p:pic>
      </p:grpSp>
      <p:sp>
        <p:nvSpPr>
          <p:cNvPr id="25" name="ZoneTexte 24">
            <a:extLst>
              <a:ext uri="{FF2B5EF4-FFF2-40B4-BE49-F238E27FC236}">
                <a16:creationId xmlns:a16="http://schemas.microsoft.com/office/drawing/2014/main" id="{05BDA0A1-C1DE-3363-14D1-25382633DF61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6811905" y="4785518"/>
            <a:ext cx="3048710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Dites-le en arabe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disent le mot en arabe. </a:t>
            </a:r>
          </a:p>
        </p:txBody>
      </p:sp>
    </p:spTree>
    <p:extLst>
      <p:ext uri="{BB962C8B-B14F-4D97-AF65-F5344CB8AC3E}">
        <p14:creationId xmlns:p14="http://schemas.microsoft.com/office/powerpoint/2010/main" val="263529675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7D4211-3FBB-3FAC-CF7E-7F64D921D8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A377F10B-AE5F-EF40-AB99-CDB60AE14E1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67983" y="794389"/>
            <a:ext cx="345516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F1E440A1-C7A5-5A18-F58F-DF7FA1A558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71588" y="616270"/>
            <a:ext cx="10632983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1028675">
              <a:lnSpc>
                <a:spcPct val="150000"/>
              </a:lnSpc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e vais écrire le mot « mamie » sur le tableau. Regardez comment je fais.</a:t>
            </a: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024E9137-C154-58F0-A175-37050B00627A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8" name="Image 17">
            <a:extLst>
              <a:ext uri="{FF2B5EF4-FFF2-40B4-BE49-F238E27FC236}">
                <a16:creationId xmlns:a16="http://schemas.microsoft.com/office/drawing/2014/main" id="{42792E22-3E0A-22A4-AA48-F1155372E9E3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/>
          <a:srcRect t="-1" r="20017" b="6507"/>
          <a:stretch/>
        </p:blipFill>
        <p:spPr>
          <a:xfrm>
            <a:off x="11817487" y="646795"/>
            <a:ext cx="1301897" cy="1238825"/>
          </a:xfrm>
          <a:prstGeom prst="ellipse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2EE867DE-FC61-0183-05C8-67A2E00CDD9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900" y="3542606"/>
            <a:ext cx="13016058" cy="35548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500" b="1" dirty="0">
                <a:solidFill>
                  <a:srgbClr val="106585"/>
                </a:solidFill>
                <a:latin typeface="Dosis" pitchFamily="2" charset="0"/>
              </a:rPr>
              <a:t>mamie</a:t>
            </a:r>
            <a:endParaRPr lang="fr-MA" sz="22500" b="1" dirty="0">
              <a:solidFill>
                <a:srgbClr val="106585"/>
              </a:solidFill>
              <a:latin typeface="Dosi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509283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D6B425-341C-7A20-CF26-2A6CA68E24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9452C3A5-1354-1DC3-54A7-BCA2C86A181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18223" y="805363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C5C7E958-CF40-7840-1A24-D0BF880F474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28849" y="717737"/>
            <a:ext cx="120237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Prenez vos ardoises !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FCC869A1-16DE-8823-F8EA-61EC53BA2C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86735" y="2445399"/>
            <a:ext cx="6057078" cy="4682945"/>
          </a:xfrm>
          <a:prstGeom prst="rect">
            <a:avLst/>
          </a:prstGeom>
        </p:spPr>
      </p:pic>
      <p:graphicFrame>
        <p:nvGraphicFramePr>
          <p:cNvPr id="21" name="Tableau 20">
            <a:extLst>
              <a:ext uri="{FF2B5EF4-FFF2-40B4-BE49-F238E27FC236}">
                <a16:creationId xmlns:a16="http://schemas.microsoft.com/office/drawing/2014/main" id="{1BA2F964-142A-EE3C-C404-9FDE6F82648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53E4B72F-D347-C979-6DC6-DEAC8BFA7A5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9863" y="684420"/>
            <a:ext cx="1306999" cy="1136829"/>
          </a:xfrm>
          <a:prstGeom prst="rect">
            <a:avLst/>
          </a:prstGeom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2333712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0FB4E2-4D3B-F453-1365-4B866011C3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AE757454-E503-7CE8-3B9E-E6EEBC53BC9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23710" y="832063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9A2BE6B7-7B72-260B-C80A-C376A8634A1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09864" y="571087"/>
            <a:ext cx="11296271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Écrivez le mot « mamie ».</a:t>
            </a: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55547D8D-8914-17BA-766D-11A7F357EC68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C98A6664-A01B-F660-0585-14B75603413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58040" y="795025"/>
            <a:ext cx="1658224" cy="919132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42190CD3-3E30-3BA5-EEA1-3264E4A8C1E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7186" y="3219896"/>
            <a:ext cx="13030200" cy="38472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400" b="1" dirty="0">
                <a:solidFill>
                  <a:srgbClr val="106584"/>
                </a:solidFill>
                <a:latin typeface="KG Primary Penmanship Alt" panose="02000506000000020003" pitchFamily="2" charset="0"/>
                <a:ea typeface="Calibri" panose="020F0502020204030204" pitchFamily="34" charset="0"/>
                <a:cs typeface="Calibri" panose="020F0502020204030204" pitchFamily="34" charset="0"/>
              </a:rPr>
              <a:t>mamie</a:t>
            </a:r>
            <a:endParaRPr kumimoji="0" lang="fr-FR" sz="244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KG Primary Penmanship Alt" panose="02000506000000020003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601235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5E8AB9-4625-3BF2-A63D-8DE61ED06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90868684-F582-8476-C964-8DE5FE2C0C0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75D960A8-03D5-01AC-092E-2C7C2C29251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FBAC24B-CB93-525E-576C-B2F902A4E58A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DDF36CF3-74C9-1DEB-7943-22D68C661C01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818825EF-09E1-8ECF-E161-35EA93722815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5FD0DD3D-ABE3-1548-77AF-26F0BB379C44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DC4F6B69-50AB-49C0-8817-1A4A2C108CD2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ACB632DC-CCCB-E04B-BF3A-689BA4699339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1AE04D29-EFB7-374F-FB4D-83AC2FCD2D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07451" y="85858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2352BB15-9A97-0758-E5A1-2C09280E2B8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01074" y="764132"/>
            <a:ext cx="96080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vez les ardoises.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8CF729B6-76DF-A667-49D5-38FE8CE2AA7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3939605" y="2961707"/>
            <a:ext cx="6089298" cy="4363587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DDD0CA4F-EAF3-E162-0AB5-92E850B16820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014410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ECF20E-FF45-A43A-6F3A-99B7D48DBE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8">
            <a:extLst>
              <a:ext uri="{FF2B5EF4-FFF2-40B4-BE49-F238E27FC236}">
                <a16:creationId xmlns:a16="http://schemas.microsoft.com/office/drawing/2014/main" id="{01032046-D188-65BB-F18E-E78D3BE3000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05597" y="722301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08DF5453-4153-358A-36D5-F86A47E71BE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46424" y="634508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Prenez vos livrets et vos crayons.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2A3E845F-604F-C835-1434-6653962B027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2699334" y="2571317"/>
            <a:ext cx="3999271" cy="5710896"/>
          </a:xfrm>
          <a:prstGeom prst="rect">
            <a:avLst/>
          </a:prstGeom>
        </p:spPr>
      </p:pic>
      <p:pic>
        <p:nvPicPr>
          <p:cNvPr id="4" name="Image 3" descr="Une image contenant dessin, croquis, briquet, illustration&#10;&#10;Description générée automatiquement">
            <a:extLst>
              <a:ext uri="{FF2B5EF4-FFF2-40B4-BE49-F238E27FC236}">
                <a16:creationId xmlns:a16="http://schemas.microsoft.com/office/drawing/2014/main" id="{6ED62753-EA9F-94B6-0569-6B6CE03A9D3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5992" y="4190466"/>
            <a:ext cx="2010942" cy="2472598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99577B13-6923-0D00-948F-1DE0691CD30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38206" y="1111691"/>
            <a:ext cx="1249733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osis"/>
                <a:ea typeface="+mn-ea"/>
                <a:cs typeface="+mn-cs"/>
              </a:rPr>
              <a:t>&gt;  </a:t>
            </a:r>
            <a:r>
              <a:rPr kumimoji="0" lang="fr-FR" sz="20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osis"/>
                <a:ea typeface="+mn-ea"/>
                <a:cs typeface="+mn-cs"/>
              </a:rPr>
              <a:t>Si  les élèves ne disposent pas de livret,  l’activité doit </a:t>
            </a:r>
            <a:r>
              <a:rPr kumimoji="0" lang="fr-FR" sz="2000" b="1" i="1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osis"/>
                <a:ea typeface="+mn-ea"/>
                <a:cs typeface="+mn-cs"/>
              </a:rPr>
              <a:t>être réalisée sur </a:t>
            </a:r>
            <a:r>
              <a:rPr kumimoji="0" lang="fr-FR" sz="20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osis"/>
                <a:ea typeface="+mn-ea"/>
                <a:cs typeface="+mn-cs"/>
              </a:rPr>
              <a:t>les cahiers à partir du modèle affiché à l’écran. </a:t>
            </a:r>
            <a:endParaRPr kumimoji="0" lang="fr-FR" sz="1400" b="1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BC5ABFAF-6C55-9CF0-5692-6EAC7F3D0B93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Écriture </a:t>
                      </a:r>
                      <a:endParaRPr lang="fr-FR" sz="1800" dirty="0">
                        <a:solidFill>
                          <a:schemeClr val="bg1"/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60391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25EE3C-0552-3C9A-85D5-A5225BBA6F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4EDD629C-DEB6-EF56-BE04-277E91383D8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20" name="Freeform 8">
            <a:extLst>
              <a:ext uri="{FF2B5EF4-FFF2-40B4-BE49-F238E27FC236}">
                <a16:creationId xmlns:a16="http://schemas.microsoft.com/office/drawing/2014/main" id="{1A6C8F40-046A-D562-4E97-F761077A29E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0800000" flipH="1">
            <a:off x="712019" y="790333"/>
            <a:ext cx="364161" cy="31857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02C822F5-D118-EF17-441A-34FD6190E26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57300" y="710527"/>
            <a:ext cx="65581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lez à la page 29.</a:t>
            </a:r>
            <a:endParaRPr kumimoji="0" lang="fr-FR" sz="2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90AA06D1-2946-1283-742C-17523ECD0570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44350" y="577671"/>
            <a:ext cx="1282512" cy="1115530"/>
          </a:xfrm>
          <a:prstGeom prst="rect">
            <a:avLst/>
          </a:prstGeom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5118A26B-DDC3-1595-4D48-00E712BF1E2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4036523" y="1693201"/>
            <a:ext cx="5671526" cy="8022299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EFDA06A-2F7B-BC3B-F054-EFA04E03B3C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871910" y="4586299"/>
            <a:ext cx="6143628" cy="335755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656243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1A3279-11C3-B735-0761-431161D0AD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A61601A7-CF3C-5F6B-F41F-13EBFF875834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1"/>
            <a:ext cx="13716000" cy="10286999"/>
            <a:chOff x="0" y="1"/>
            <a:chExt cx="9144000" cy="685799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B577C40-E5BF-5A33-3633-D8D1A4F8A196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5" name="Groupe 4">
              <a:extLst>
                <a:ext uri="{FF2B5EF4-FFF2-40B4-BE49-F238E27FC236}">
                  <a16:creationId xmlns:a16="http://schemas.microsoft.com/office/drawing/2014/main" id="{1403637C-6DF6-53A0-9A1A-B3E95913B068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7" name="Rectangle : coins arrondis 6">
                <a:extLst>
                  <a:ext uri="{FF2B5EF4-FFF2-40B4-BE49-F238E27FC236}">
                    <a16:creationId xmlns:a16="http://schemas.microsoft.com/office/drawing/2014/main" id="{10BCFF06-2F5A-50AB-3E33-E432165034B0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1" name="Groupe 10">
                <a:extLst>
                  <a:ext uri="{FF2B5EF4-FFF2-40B4-BE49-F238E27FC236}">
                    <a16:creationId xmlns:a16="http://schemas.microsoft.com/office/drawing/2014/main" id="{EA6AABD4-0512-68D0-3E8E-B956D434FF9F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12" name="Rectangle : coins arrondis 11">
                  <a:extLst>
                    <a:ext uri="{FF2B5EF4-FFF2-40B4-BE49-F238E27FC236}">
                      <a16:creationId xmlns:a16="http://schemas.microsoft.com/office/drawing/2014/main" id="{04EEBC8A-224D-8270-3EFC-7CA45C7BCC3E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3DD4D321-6EBF-93E9-FD39-E2AEB82143C0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16" name="Freeform 8">
            <a:extLst>
              <a:ext uri="{FF2B5EF4-FFF2-40B4-BE49-F238E27FC236}">
                <a16:creationId xmlns:a16="http://schemas.microsoft.com/office/drawing/2014/main" id="{A7E40AAE-A75E-3F1E-C316-DA2D02306E1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28662" y="630538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C0FAC788-4730-067C-885A-FEBFBBC9C46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11358" y="539065"/>
            <a:ext cx="11529396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Activité 2. J’écris des syllabes.</a:t>
            </a:r>
            <a:endParaRPr kumimoji="0" lang="ar-MA" sz="24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 "/>
              <a:ea typeface="+mn-ea"/>
              <a:cs typeface="Arial" panose="020B0604020202020204" pitchFamily="34" charset="0"/>
            </a:endParaRP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Je vais circuler entre les rangs pour vous aider.</a:t>
            </a:r>
          </a:p>
        </p:txBody>
      </p:sp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9ADD39F4-D318-87F7-0B8B-F1807E993B9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7FCD3040-7B6A-3E2C-B036-8DB72764C7D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3924" y="824665"/>
            <a:ext cx="1733762" cy="121264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093F9560-8F14-7840-8E9D-48073A877C4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977002" y="3248323"/>
            <a:ext cx="11790567" cy="4355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03187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E4D590-3811-84ED-A70E-3174703587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D4E82BCD-2D13-098B-86CA-D27BFC5E3808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1"/>
            <a:ext cx="13716000" cy="10286999"/>
            <a:chOff x="0" y="1"/>
            <a:chExt cx="9144000" cy="685799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925BDFC-4591-FFB9-0BD4-96B65A996BB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5" name="Groupe 4">
              <a:extLst>
                <a:ext uri="{FF2B5EF4-FFF2-40B4-BE49-F238E27FC236}">
                  <a16:creationId xmlns:a16="http://schemas.microsoft.com/office/drawing/2014/main" id="{3D322155-D78D-89C0-88EE-7B4C34497329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7" name="Rectangle : coins arrondis 6">
                <a:extLst>
                  <a:ext uri="{FF2B5EF4-FFF2-40B4-BE49-F238E27FC236}">
                    <a16:creationId xmlns:a16="http://schemas.microsoft.com/office/drawing/2014/main" id="{A0E50E82-50A1-2B29-6A15-E342460AE5EF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1" name="Groupe 10">
                <a:extLst>
                  <a:ext uri="{FF2B5EF4-FFF2-40B4-BE49-F238E27FC236}">
                    <a16:creationId xmlns:a16="http://schemas.microsoft.com/office/drawing/2014/main" id="{1597C8B7-E8D3-A74E-13EE-64C051092FD8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12" name="Rectangle : coins arrondis 11">
                  <a:extLst>
                    <a:ext uri="{FF2B5EF4-FFF2-40B4-BE49-F238E27FC236}">
                      <a16:creationId xmlns:a16="http://schemas.microsoft.com/office/drawing/2014/main" id="{256B40E7-0CC7-3D30-C857-D4F4A3B7A60E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679AA089-CFEF-BE6B-225A-1028AD3DBDDA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16" name="Freeform 8">
            <a:extLst>
              <a:ext uri="{FF2B5EF4-FFF2-40B4-BE49-F238E27FC236}">
                <a16:creationId xmlns:a16="http://schemas.microsoft.com/office/drawing/2014/main" id="{8DC1E6A2-72A9-AF21-5BD6-8EE70CD121F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28662" y="630538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39650EE7-D090-58E3-72FE-4BB4CD8FBEB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11358" y="539065"/>
            <a:ext cx="11529396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Activité 2. J’écris </a:t>
            </a:r>
            <a:r>
              <a:rPr lang="fr-FR" sz="2450" b="1" dirty="0">
                <a:solidFill>
                  <a:prstClr val="white">
                    <a:lumMod val="65000"/>
                  </a:prstClr>
                </a:solidFill>
                <a:latin typeface="Calibri "/>
              </a:rPr>
              <a:t>des mots : Ami - mamie</a:t>
            </a: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.</a:t>
            </a:r>
            <a:endParaRPr kumimoji="0" lang="ar-MA" sz="24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 "/>
              <a:ea typeface="+mn-ea"/>
              <a:cs typeface="Arial" panose="020B0604020202020204" pitchFamily="34" charset="0"/>
            </a:endParaRP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Je vais circuler entre les rangs pour vous aider.</a:t>
            </a:r>
          </a:p>
        </p:txBody>
      </p:sp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EE91056D-C160-4E7F-8A95-BEE6E07A06B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BCA2079A-AABF-C4F9-37DC-70A94915B48B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3924" y="824665"/>
            <a:ext cx="1733762" cy="121264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2B70FFBD-EBF2-9162-49F1-E7E224A4F7B9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809872" y="3685726"/>
            <a:ext cx="12181979" cy="3561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936728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0B2F8E-8E4B-B38D-6EC6-157DBEC6AB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79DA564-4137-0B35-B63C-8F406A7ED78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6949B5E2-9DAF-EBAC-1584-E8498FE5713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AD6A8CE-237D-E11D-FB38-6BE34B3E0835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EE41AF00-29B6-0559-7392-CBB24DC9BCAE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7FD85179-174A-845C-7CFE-54051F108E84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12C9BBAC-CE86-4C53-77DA-E5814234D2AA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68EE3136-876C-FF1D-9374-917F60585709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EE779AC7-DF84-D22B-4141-20259CB8CD57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867910BF-C541-2939-C8A2-4188E783FE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63011" y="67243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7A48166C-A99A-AD99-DFDD-88B1259120E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24601" y="548413"/>
            <a:ext cx="12181673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’est le moment de l’étoile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 !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 gagnant de l’étoile est : [nom de l’élève]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A02DA9B2-0104-78F5-925E-F3EFC6122AD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2646" y="3462101"/>
            <a:ext cx="8007737" cy="6005802"/>
          </a:xfrm>
          <a:prstGeom prst="rect">
            <a:avLst/>
          </a:prstGeom>
        </p:spPr>
      </p:pic>
      <p:pic>
        <p:nvPicPr>
          <p:cNvPr id="12" name="goodresult-82807">
            <a:hlinkClick r:id="" action="ppaction://media"/>
            <a:extLst>
              <a:ext uri="{FF2B5EF4-FFF2-40B4-BE49-F238E27FC236}">
                <a16:creationId xmlns:a16="http://schemas.microsoft.com/office/drawing/2014/main" id="{00BACA63-FA03-9C5C-8E5A-BE3B170E69F3}"/>
              </a:ext>
            </a:extLst>
          </p:cNvPr>
          <p:cNvPicPr>
            <a:picLocks noChangeAspect="1"/>
          </p:cNvPicPr>
          <p:nvPr>
            <a:audioFile r:link="rId7"/>
            <p:custDataLst>
              <p:tags r:id="rId8"/>
            </p:custDataLst>
            <p:extLst>
              <p:ext uri="{DAA4B4D4-6D71-4841-9C94-3DE7FCFB9230}">
                <p14:media xmlns:p14="http://schemas.microsoft.com/office/powerpoint/2010/main" r:embed="rId6"/>
              </p:ext>
            </p:extLst>
          </p:nvPr>
        </p:nvPicPr>
        <p:blipFill>
          <a:blip r:embed="rId18"/>
          <a:stretch>
            <a:fillRect/>
          </a:stretch>
        </p:blipFill>
        <p:spPr>
          <a:xfrm>
            <a:off x="11627789" y="676802"/>
            <a:ext cx="731045" cy="73104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6ACF6A0C-1D26-EB93-1786-0291DD2083D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401711" y="2584939"/>
            <a:ext cx="478207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oment de l’étoile</a:t>
            </a:r>
          </a:p>
        </p:txBody>
      </p:sp>
    </p:spTree>
    <p:extLst>
      <p:ext uri="{BB962C8B-B14F-4D97-AF65-F5344CB8AC3E}">
        <p14:creationId xmlns:p14="http://schemas.microsoft.com/office/powerpoint/2010/main" val="4059680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504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audio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C9B8FA-863E-0A82-E69A-F5094FF52D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B55B0195-4F66-E8A5-F293-11C0A390DC6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AE2A5C97-6BB8-D6D8-C67A-601C6631652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8D6024E-998E-FB4A-9827-13921424A66F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7B5626B3-8F11-1A4C-1C5A-C28AD40230C8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63E1DD92-4DB6-E0AA-412D-880EF865E549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524834BD-DE93-3723-5883-A79737C09FD1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128C95BA-718C-F15D-88E2-7F89511330A9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9AAEA53E-4E9D-CE10-2E0C-E3F71C468384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4DB08214-4D5B-0B77-354D-1EB3C43212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79034" y="85438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0C40AA9-C224-10BA-2578-435199DE8B5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91428" y="755605"/>
            <a:ext cx="121816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peut me dire pourquoi [prénom] a obtenu l’étoile ? </a:t>
            </a:r>
          </a:p>
        </p:txBody>
      </p:sp>
      <p:pic>
        <p:nvPicPr>
          <p:cNvPr id="5" name="Image 4" descr="Une image contenant dessin humoristique, dessin, illustration, Dessin animé&#10;&#10;Description générée automatiquement">
            <a:extLst>
              <a:ext uri="{FF2B5EF4-FFF2-40B4-BE49-F238E27FC236}">
                <a16:creationId xmlns:a16="http://schemas.microsoft.com/office/drawing/2014/main" id="{2965A4B0-67DD-88DB-9DE5-8E7CA5AD689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26" r="50000" b="19885"/>
          <a:stretch/>
        </p:blipFill>
        <p:spPr>
          <a:xfrm>
            <a:off x="4954556" y="2048287"/>
            <a:ext cx="4387476" cy="3824222"/>
          </a:xfrm>
          <a:prstGeom prst="rect">
            <a:avLst/>
          </a:prstGeom>
        </p:spPr>
      </p:pic>
      <p:pic>
        <p:nvPicPr>
          <p:cNvPr id="6" name="Picture 2" descr="12,300+ Right Wrong Stock Illustrations, Royalty-Free Vector ...">
            <a:extLst>
              <a:ext uri="{FF2B5EF4-FFF2-40B4-BE49-F238E27FC236}">
                <a16:creationId xmlns:a16="http://schemas.microsoft.com/office/drawing/2014/main" id="{167A14FC-01BC-6364-3F1D-81A4B18CB16A}"/>
              </a:ext>
            </a:extLst>
          </p:cNvPr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10164560" y="3186112"/>
            <a:ext cx="1666068" cy="2063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656EF663-2508-E0E8-4B29-3BDE8F510E55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7634" y="2674828"/>
            <a:ext cx="2390028" cy="2714732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55D338E8-2E62-4CCD-ADCB-16E5C4451C5B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3040"/>
          <a:stretch/>
        </p:blipFill>
        <p:spPr>
          <a:xfrm>
            <a:off x="907633" y="5208703"/>
            <a:ext cx="11641322" cy="853040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37556267-D5D0-9C5E-BFC6-0B9E11A120E9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5151195" y="6349561"/>
            <a:ext cx="3042222" cy="2932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3273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CB165543-4DBF-48F7-57E1-EF9DF479B2E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13716000" cy="10287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F708FCD2-6BF9-00A9-A27E-4ABFC613E86D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3"/>
              <a:stretch>
                <a:fillRect t="-5555" b="-5555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CF0E36C0-C341-AACC-60EE-1249E2D9C505}"/>
                </a:ext>
              </a:extLst>
            </p:cNvPr>
            <p:cNvGrpSpPr/>
            <p:nvPr/>
          </p:nvGrpSpPr>
          <p:grpSpPr>
            <a:xfrm>
              <a:off x="800100" y="353997"/>
              <a:ext cx="12001500" cy="9132906"/>
              <a:chOff x="800100" y="353997"/>
              <a:chExt cx="12001500" cy="9132906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6856C84E-5D28-B1BE-B422-DE634E79C01D}"/>
                  </a:ext>
                </a:extLst>
              </p:cNvPr>
              <p:cNvGrpSpPr/>
              <p:nvPr/>
            </p:nvGrpSpPr>
            <p:grpSpPr>
              <a:xfrm>
                <a:off x="800100" y="876302"/>
                <a:ext cx="12001500" cy="8610601"/>
                <a:chOff x="0" y="-485141"/>
                <a:chExt cx="3895412" cy="3519867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E467593A-A3AA-574E-C98C-D79D5650552D}"/>
                    </a:ext>
                  </a:extLst>
                </p:cNvPr>
                <p:cNvSpPr/>
                <p:nvPr/>
              </p:nvSpPr>
              <p:spPr>
                <a:xfrm>
                  <a:off x="0" y="-485141"/>
                  <a:ext cx="3895412" cy="35198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0000"/>
                  </a:solidFill>
                </a:ln>
              </p:spPr>
              <p:txBody>
                <a:bodyPr/>
                <a:lstStyle/>
                <a:p>
                  <a:pPr defTabSz="914445">
                    <a:defRPr/>
                  </a:pPr>
                  <a:endParaRPr lang="fr-MA"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EBF35789-EF5A-9231-2393-AA2D13C5F56A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</p:spPr>
              <p:txBody>
                <a:bodyPr lIns="38100" tIns="38100" rIns="38100" bIns="38100" rtlCol="0" anchor="ctr"/>
                <a:lstStyle/>
                <a:p>
                  <a:pPr algn="ctr" defTabSz="914445">
                    <a:lnSpc>
                      <a:spcPts val="2408"/>
                    </a:lnSpc>
                    <a:defRPr/>
                  </a:pPr>
                  <a:endParaRPr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04888450-80DC-3049-7195-02CD36824DB4}"/>
                  </a:ext>
                </a:extLst>
              </p:cNvPr>
              <p:cNvSpPr/>
              <p:nvPr/>
            </p:nvSpPr>
            <p:spPr>
              <a:xfrm>
                <a:off x="914402" y="353997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defTabSz="914445">
                  <a:defRPr/>
                </a:pPr>
                <a:endParaRPr lang="fr-MA" sz="1350" dirty="0">
                  <a:solidFill>
                    <a:prstClr val="black"/>
                  </a:solidFill>
                  <a:latin typeface="Dosis" pitchFamily="2" charset="0"/>
                </a:endParaRPr>
              </a:p>
            </p:txBody>
          </p:sp>
        </p:grpSp>
      </p:grpSp>
      <p:sp>
        <p:nvSpPr>
          <p:cNvPr id="9" name="TextBox 9"/>
          <p:cNvSpPr txBox="1"/>
          <p:nvPr>
            <p:custDataLst>
              <p:tags r:id="rId2"/>
            </p:custDataLst>
          </p:nvPr>
        </p:nvSpPr>
        <p:spPr>
          <a:xfrm>
            <a:off x="3097817" y="5585909"/>
            <a:ext cx="7520366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Matériel didactique</a:t>
            </a:r>
          </a:p>
        </p:txBody>
      </p:sp>
      <p:sp>
        <p:nvSpPr>
          <p:cNvPr id="2" name="TextBox 9">
            <a:extLst>
              <a:ext uri="{FF2B5EF4-FFF2-40B4-BE49-F238E27FC236}">
                <a16:creationId xmlns:a16="http://schemas.microsoft.com/office/drawing/2014/main" id="{EFB9B008-41AC-BDC5-4B91-5A497B148B4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00100" y="1407111"/>
            <a:ext cx="120015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Matériel technique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915D381-18F3-43EC-F8E3-6D366476685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6"/>
          <a:stretch>
            <a:fillRect/>
          </a:stretch>
        </p:blipFill>
        <p:spPr>
          <a:xfrm>
            <a:off x="2204900" y="2644612"/>
            <a:ext cx="1912502" cy="1668047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79441BD0-3475-3561-9867-7AA9199CD64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11857" y="4394611"/>
            <a:ext cx="2504181" cy="538610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5AF469B-2419-1460-4D0E-2A3F112415E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394902" y="4393589"/>
            <a:ext cx="1425005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C + PPT 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3544874-45A9-6686-34C5-F066052CB44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612942" y="4407713"/>
            <a:ext cx="2269574" cy="538610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2E08D40C-2D68-A73A-2381-029481DAF74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027753" y="4446212"/>
            <a:ext cx="1343701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ointeur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F31C257C-687C-6F5D-9E7D-C97F5E15A1E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07662" y="2170848"/>
            <a:ext cx="2232162" cy="2229782"/>
          </a:xfrm>
          <a:prstGeom prst="rect">
            <a:avLst/>
          </a:prstGeom>
        </p:spPr>
      </p:pic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CC74D983-3D6D-C529-D40A-5A387E869EC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683290" y="4374481"/>
            <a:ext cx="3254772" cy="549254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CDA954E7-6A2C-C5AF-3AE0-19B26D8976E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976816" y="4400630"/>
            <a:ext cx="2582566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jection ajustée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E53E6545-78B9-1C0F-4AE2-7DEF0DA141E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8"/>
          <a:stretch>
            <a:fillRect/>
          </a:stretch>
        </p:blipFill>
        <p:spPr>
          <a:xfrm>
            <a:off x="8730084" y="2895119"/>
            <a:ext cx="3160415" cy="992903"/>
          </a:xfrm>
          <a:prstGeom prst="rect">
            <a:avLst/>
          </a:prstGeom>
        </p:spPr>
      </p:pic>
      <p:grpSp>
        <p:nvGrpSpPr>
          <p:cNvPr id="28" name="Groupe 27">
            <a:extLst>
              <a:ext uri="{FF2B5EF4-FFF2-40B4-BE49-F238E27FC236}">
                <a16:creationId xmlns:a16="http://schemas.microsoft.com/office/drawing/2014/main" id="{9D132A3B-F0F2-35FE-99DC-A96843AFCA2E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4508617" y="8682834"/>
            <a:ext cx="1779566" cy="538610"/>
            <a:chOff x="5802255" y="5807067"/>
            <a:chExt cx="1186377" cy="359073"/>
          </a:xfrm>
        </p:grpSpPr>
        <p:sp>
          <p:nvSpPr>
            <p:cNvPr id="29" name="Rectangle : coins arrondis 28">
              <a:extLst>
                <a:ext uri="{FF2B5EF4-FFF2-40B4-BE49-F238E27FC236}">
                  <a16:creationId xmlns:a16="http://schemas.microsoft.com/office/drawing/2014/main" id="{C804A669-72C6-3FA1-5791-E7CB5CA77B20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5802255" y="5807067"/>
              <a:ext cx="1186377" cy="359073"/>
            </a:xfrm>
            <a:prstGeom prst="roundRect">
              <a:avLst>
                <a:gd name="adj" fmla="val 32258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4BFB723B-1198-9769-D313-3CDD4CA76B05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5936723" y="5815168"/>
              <a:ext cx="92606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fr-FR" sz="2250" b="1" dirty="0">
                  <a:solidFill>
                    <a:srgbClr val="4BACC6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Livret  </a:t>
              </a:r>
            </a:p>
          </p:txBody>
        </p:sp>
      </p:grpSp>
      <p:pic>
        <p:nvPicPr>
          <p:cNvPr id="25" name="Image 24">
            <a:extLst>
              <a:ext uri="{FF2B5EF4-FFF2-40B4-BE49-F238E27FC236}">
                <a16:creationId xmlns:a16="http://schemas.microsoft.com/office/drawing/2014/main" id="{5753C2A9-3189-5FAE-322D-3B6DC0946D1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4781755" y="6506980"/>
            <a:ext cx="1360298" cy="1942484"/>
          </a:xfrm>
          <a:prstGeom prst="rect">
            <a:avLst/>
          </a:prstGeom>
        </p:spPr>
      </p:pic>
      <p:sp>
        <p:nvSpPr>
          <p:cNvPr id="36" name="ZoneTexte 35">
            <a:extLst>
              <a:ext uri="{FF2B5EF4-FFF2-40B4-BE49-F238E27FC236}">
                <a16:creationId xmlns:a16="http://schemas.microsoft.com/office/drawing/2014/main" id="{D3E0DBCB-E98C-6943-0AAE-117B0145F952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256C08F-FE2D-887C-5E62-41F4AC8B3721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00030" y="6777206"/>
            <a:ext cx="1789002" cy="1383142"/>
          </a:xfrm>
          <a:prstGeom prst="rect">
            <a:avLst/>
          </a:prstGeom>
        </p:spPr>
      </p:pic>
      <p:grpSp>
        <p:nvGrpSpPr>
          <p:cNvPr id="20" name="Groupe 19">
            <a:extLst>
              <a:ext uri="{FF2B5EF4-FFF2-40B4-BE49-F238E27FC236}">
                <a16:creationId xmlns:a16="http://schemas.microsoft.com/office/drawing/2014/main" id="{7E9C0502-A7A0-8331-FC77-BD2C8A83A92A}"/>
              </a:ext>
            </a:extLst>
          </p:cNvPr>
          <p:cNvGrpSpPr/>
          <p:nvPr>
            <p:custDataLst>
              <p:tags r:id="rId17"/>
            </p:custDataLst>
          </p:nvPr>
        </p:nvGrpSpPr>
        <p:grpSpPr>
          <a:xfrm>
            <a:off x="7485754" y="8644972"/>
            <a:ext cx="1779566" cy="538610"/>
            <a:chOff x="5802255" y="5807067"/>
            <a:chExt cx="1186377" cy="359073"/>
          </a:xfrm>
        </p:grpSpPr>
        <p:sp>
          <p:nvSpPr>
            <p:cNvPr id="21" name="Rectangle : coins arrondis 20">
              <a:extLst>
                <a:ext uri="{FF2B5EF4-FFF2-40B4-BE49-F238E27FC236}">
                  <a16:creationId xmlns:a16="http://schemas.microsoft.com/office/drawing/2014/main" id="{C0574431-818E-FFD3-517F-8DDEF3199CC3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5802255" y="5807067"/>
              <a:ext cx="1186377" cy="359073"/>
            </a:xfrm>
            <a:prstGeom prst="roundRect">
              <a:avLst>
                <a:gd name="adj" fmla="val 32258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2" name="ZoneTexte 21">
              <a:extLst>
                <a:ext uri="{FF2B5EF4-FFF2-40B4-BE49-F238E27FC236}">
                  <a16:creationId xmlns:a16="http://schemas.microsoft.com/office/drawing/2014/main" id="{D7CDBCFE-A308-E8B1-B716-E2FC5EEA178C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5936723" y="5815168"/>
              <a:ext cx="92606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fr-FR" sz="2250" b="1" dirty="0">
                  <a:solidFill>
                    <a:srgbClr val="4BACC6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Ardois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3439623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15A159-DB48-9BA9-C5B0-5E337AAB46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42C1FBB-1CD9-2106-0A0B-D4CE048292E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56428922-DA23-7D63-9667-947520F87F7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775BF59-3F8D-9B5C-D1ED-F735B20CA707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F508E3EA-9EE0-5287-329A-9D0072439D0C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F5E4F832-9B09-AF3F-2863-C16F1D533072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E515C95D-8C64-C416-29AB-6970CCFB983E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56F2E216-AD23-A509-095D-B8ACC75615E5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D427134C-F818-8C64-86C7-D9873BFEFDF9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19" name="Freeform 8">
            <a:extLst>
              <a:ext uri="{FF2B5EF4-FFF2-40B4-BE49-F238E27FC236}">
                <a16:creationId xmlns:a16="http://schemas.microsoft.com/office/drawing/2014/main" id="{6DC4A37A-0359-4A44-D3EE-8AF3AFFA9F2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62D5AFA-9333-F74B-ECE0-BCDA41DD36D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28573" y="736196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La séance d’aujourd’hui est terminée. À demain !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6F8A514-48C9-75D9-E3BC-64145D5D657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3059771" y="2695098"/>
            <a:ext cx="7596461" cy="623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62600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">
          <a:extLst>
            <a:ext uri="{FF2B5EF4-FFF2-40B4-BE49-F238E27FC236}">
              <a16:creationId xmlns:a16="http://schemas.microsoft.com/office/drawing/2014/main" id="{4434A310-1ACB-7B37-A2E4-A787BD127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3F884051-55D2-3C83-2FA7-6431BA98E9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86" y="1287661"/>
          <a:ext cx="1787" cy="1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884051-55D2-3C83-2FA7-6431BA98E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786" y="1287661"/>
                        <a:ext cx="1787" cy="17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Google Shape;71;p16">
            <a:extLst>
              <a:ext uri="{FF2B5EF4-FFF2-40B4-BE49-F238E27FC236}">
                <a16:creationId xmlns:a16="http://schemas.microsoft.com/office/drawing/2014/main" id="{A378AFD9-7C33-AC53-B240-DF15D58DA6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813727" y="8681309"/>
            <a:ext cx="96490" cy="1110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02862" tIns="51413" rIns="102862" bIns="51413" anchor="ctr" anchorCtr="0">
            <a:noAutofit/>
          </a:bodyPr>
          <a:lstStyle/>
          <a:p>
            <a:pPr algn="ctr" defTabSz="1371566">
              <a:buClr>
                <a:srgbClr val="000000"/>
              </a:buClr>
              <a:buSzPts val="1800"/>
              <a:defRPr/>
            </a:pPr>
            <a:endParaRPr sz="3150" b="1" kern="0">
              <a:solidFill>
                <a:srgbClr val="000000"/>
              </a:solidFill>
              <a:latin typeface="Traditional Arabic" panose="02020603050405020304" pitchFamily="18" charset="-78"/>
              <a:ea typeface="Arial"/>
              <a:cs typeface="Traditional Arabic" panose="02020603050405020304" pitchFamily="18" charset="-78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5B0B7A3-933D-E89F-0AFB-610F9586A0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36334" y="8529247"/>
            <a:ext cx="3148070" cy="415198"/>
          </a:xfrm>
          <a:prstGeom prst="rect">
            <a:avLst/>
          </a:prstGeom>
          <a:solidFill>
            <a:srgbClr val="FCFDF2"/>
          </a:solidFill>
          <a:ln>
            <a:solidFill>
              <a:srgbClr val="FCF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8700">
              <a:defRPr/>
            </a:pPr>
            <a:endParaRPr lang="fr-FR" sz="2250" b="1">
              <a:solidFill>
                <a:srgbClr val="FFFFFF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174FDD-9916-4F25-C9A7-7C414CF7576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6334" y="1342556"/>
            <a:ext cx="12625106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28700" rtl="1"/>
            <a:r>
              <a:rPr lang="ar-MA" sz="22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</a:t>
            </a:r>
            <a:r>
              <a:rPr lang="ar-MA" sz="40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مرجو ملء الاستبيان حول الحصص الدراسية المقدمة في إطار التدريس الصريح</a:t>
            </a:r>
            <a:endParaRPr lang="en-GB" sz="405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ctr" defTabSz="1028700" rtl="1"/>
            <a:r>
              <a:rPr lang="ar-MA" sz="40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(استمارة موجهة للأساتذة)</a:t>
            </a:r>
            <a:endParaRPr lang="fr-FR" sz="405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5AACC59-15BA-D1C2-C94B-7EE31EA88D6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409085" y="4814564"/>
            <a:ext cx="69057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28700" rtl="1"/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ولوج عبر </a:t>
            </a:r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  <a:hlinkClick r:id="rId14"/>
              </a:rPr>
              <a:t>الرابط أسفله</a:t>
            </a:r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:</a:t>
            </a:r>
            <a:endParaRPr lang="fr-FR" sz="360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C019654-2264-8A09-83FF-AEC6AFD5A87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912437" y="3179076"/>
            <a:ext cx="69057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28700" rtl="1"/>
            <a:r>
              <a:rPr lang="ar-MA" sz="22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</a:t>
            </a:r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مسح رمز الاستجابة السريعة </a:t>
            </a:r>
            <a:r>
              <a:rPr lang="en-GB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(</a:t>
            </a:r>
            <a:r>
              <a:rPr lang="en-GB" sz="3600" b="1" dirty="0" err="1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Qr</a:t>
            </a:r>
            <a:r>
              <a:rPr lang="en-GB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code)</a:t>
            </a:r>
            <a:endParaRPr lang="fr-FR" sz="360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84840F-AB6A-304A-DD8A-58BCB8681D2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808658" y="3248600"/>
            <a:ext cx="15145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28700" rtl="1"/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أو</a:t>
            </a:r>
            <a:endParaRPr lang="fr-FR" sz="360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DC63DB-90E7-27C4-6516-CED8FFAC0E2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672280" y="5930679"/>
            <a:ext cx="7339912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700"/>
            <a:r>
              <a:rPr lang="fr-FR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https://forms.gle/MPZzCzLAsK9AdG8x7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419A47C-151D-1A28-EA5F-3EECEDF796CE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1010540" y="4244656"/>
            <a:ext cx="4547728" cy="4547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280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D18098-65E3-31C9-CE7D-49857F7476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41B91B76-2A60-DF51-1350-92E0875FBDC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13716000" cy="10287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C219C2DB-1D6E-A29D-F77C-09590E1A3393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/>
              <a:stretch>
                <a:fillRect t="-5555" b="-5555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D43D12F6-0094-868E-4887-AD45CB6FD089}"/>
                </a:ext>
              </a:extLst>
            </p:cNvPr>
            <p:cNvGrpSpPr/>
            <p:nvPr/>
          </p:nvGrpSpPr>
          <p:grpSpPr>
            <a:xfrm>
              <a:off x="800100" y="353997"/>
              <a:ext cx="12001500" cy="9132906"/>
              <a:chOff x="800100" y="353997"/>
              <a:chExt cx="12001500" cy="9132906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7AC9F87B-A6FC-0F3F-8438-E3DE63D8BB21}"/>
                  </a:ext>
                </a:extLst>
              </p:cNvPr>
              <p:cNvGrpSpPr/>
              <p:nvPr/>
            </p:nvGrpSpPr>
            <p:grpSpPr>
              <a:xfrm>
                <a:off x="800100" y="876302"/>
                <a:ext cx="12001500" cy="8610601"/>
                <a:chOff x="0" y="-485141"/>
                <a:chExt cx="3895412" cy="3519867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DC44881D-FFE1-709C-0B11-CCA9D335342A}"/>
                    </a:ext>
                  </a:extLst>
                </p:cNvPr>
                <p:cNvSpPr/>
                <p:nvPr/>
              </p:nvSpPr>
              <p:spPr>
                <a:xfrm>
                  <a:off x="0" y="-485141"/>
                  <a:ext cx="3895412" cy="35198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0000"/>
                  </a:solidFill>
                </a:ln>
              </p:spPr>
              <p:txBody>
                <a:bodyPr/>
                <a:lstStyle/>
                <a:p>
                  <a:pPr defTabSz="914445">
                    <a:defRPr/>
                  </a:pPr>
                  <a:endParaRPr lang="fr-MA"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6DEF2B2F-E576-DFFD-8399-E50C22FC7DF7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</p:spPr>
              <p:txBody>
                <a:bodyPr lIns="38100" tIns="38100" rIns="38100" bIns="38100" rtlCol="0" anchor="ctr"/>
                <a:lstStyle/>
                <a:p>
                  <a:pPr algn="ctr" defTabSz="914445">
                    <a:lnSpc>
                      <a:spcPts val="2408"/>
                    </a:lnSpc>
                    <a:defRPr/>
                  </a:pPr>
                  <a:endParaRPr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232A479E-7CF0-BB20-7403-63D5CD4EAC07}"/>
                  </a:ext>
                </a:extLst>
              </p:cNvPr>
              <p:cNvSpPr/>
              <p:nvPr/>
            </p:nvSpPr>
            <p:spPr>
              <a:xfrm>
                <a:off x="914402" y="353997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defTabSz="914445">
                  <a:defRPr/>
                </a:pPr>
                <a:endParaRPr lang="fr-MA" sz="1350" dirty="0">
                  <a:solidFill>
                    <a:prstClr val="black"/>
                  </a:solidFill>
                  <a:latin typeface="Dosis" pitchFamily="2" charset="0"/>
                </a:endParaRPr>
              </a:p>
            </p:txBody>
          </p:sp>
        </p:grpSp>
      </p:grpSp>
      <p:sp>
        <p:nvSpPr>
          <p:cNvPr id="2" name="TextBox 9">
            <a:extLst>
              <a:ext uri="{FF2B5EF4-FFF2-40B4-BE49-F238E27FC236}">
                <a16:creationId xmlns:a16="http://schemas.microsoft.com/office/drawing/2014/main" id="{1C340341-1BB1-F6E8-6167-449AF8F84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00100" y="1617969"/>
            <a:ext cx="120015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Exemples de projections bien ajustées 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20E6E7F1-8C5D-A744-2451-2C3AAAA8DF2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683F1D80-5E5D-94B9-BC94-826AC18B6C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/>
          <a:srcRect t="8226" b="4216"/>
          <a:stretch/>
        </p:blipFill>
        <p:spPr>
          <a:xfrm>
            <a:off x="3404621" y="3061171"/>
            <a:ext cx="6601130" cy="2723317"/>
          </a:xfrm>
          <a:prstGeom prst="roundRect">
            <a:avLst>
              <a:gd name="adj" fmla="val 12597"/>
            </a:avLst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7D9E8320-52FD-BC9F-E33E-E6E63E53978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rcRect t="3047"/>
          <a:stretch/>
        </p:blipFill>
        <p:spPr>
          <a:xfrm>
            <a:off x="3159371" y="6660789"/>
            <a:ext cx="7142603" cy="1917889"/>
          </a:xfrm>
          <a:prstGeom prst="roundRect">
            <a:avLst>
              <a:gd name="adj" fmla="val 13055"/>
            </a:avLst>
          </a:prstGeom>
        </p:spPr>
      </p:pic>
      <p:cxnSp>
        <p:nvCxnSpPr>
          <p:cNvPr id="34" name="Connecteur droit avec flèche 33">
            <a:extLst>
              <a:ext uri="{FF2B5EF4-FFF2-40B4-BE49-F238E27FC236}">
                <a16:creationId xmlns:a16="http://schemas.microsoft.com/office/drawing/2014/main" id="{A0A45337-F82C-CDA1-7832-70798E696A5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4530436" y="6306793"/>
            <a:ext cx="831273" cy="872837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avec flèche 36">
            <a:extLst>
              <a:ext uri="{FF2B5EF4-FFF2-40B4-BE49-F238E27FC236}">
                <a16:creationId xmlns:a16="http://schemas.microsoft.com/office/drawing/2014/main" id="{533E49BF-E1DF-DE67-87C6-6B4EA6B194B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4530436" y="2883526"/>
            <a:ext cx="1039091" cy="1050482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9740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F4D853-9A8B-A09C-2310-C37E1BAF10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1DE7BB3E-6390-1C50-18A4-BCDFD52D118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71520CC2-BAA8-D301-162C-A465799DA8D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-1" y="4165441"/>
            <a:ext cx="13716001" cy="9853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0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Organisation pédagogique</a:t>
            </a:r>
            <a:endParaRPr lang="ar-MA" sz="60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3B6A7112-7B25-F615-C8CD-747F1AABA0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33373C81-CB0E-8516-83E4-138442C6741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78C0463-A237-1630-B010-0DB99E1AECC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12052677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A4F410-4BCC-4A6A-8C64-D566F24309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DAD7AECF-C1BF-8311-9244-8E3BB4CA504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BEFCFD14-1E82-0356-EC79-E7FFE0D2C15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441300"/>
            <a:ext cx="12954000" cy="90579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AA8565BE-8587-EE12-0FDD-11E6991B9488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AA32D00-B2D8-2293-F056-5AE587E26A74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B34FD747-C30E-E0AB-6CD3-9EEE522E0C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6384" y="3134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1B319638-CFCF-BEE0-C1A3-DB5071C1CBF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211267" y="831689"/>
            <a:ext cx="7238546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Organisation pédagogique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94B8504D-C843-3262-D2C0-142A1F25F35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35183" y="1586276"/>
            <a:ext cx="12192000" cy="4747350"/>
          </a:xfrm>
          <a:prstGeom prst="roundRect">
            <a:avLst>
              <a:gd name="adj" fmla="val 8353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" name="TextBox 10">
            <a:extLst>
              <a:ext uri="{FF2B5EF4-FFF2-40B4-BE49-F238E27FC236}">
                <a16:creationId xmlns:a16="http://schemas.microsoft.com/office/drawing/2014/main" id="{1DD44DDA-8376-1144-5CA4-E9AC843407B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1414" y="1809095"/>
            <a:ext cx="11963400" cy="431181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L’objectif de l’enseignement du français en 1</a:t>
            </a:r>
            <a:r>
              <a:rPr lang="fr-FR" sz="2400" baseline="30000" noProof="1">
                <a:solidFill>
                  <a:srgbClr val="106585"/>
                </a:solidFill>
                <a:latin typeface="Dosis" pitchFamily="2" charset="0"/>
              </a:rPr>
              <a:t>èr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 année est d’atteindre l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palier 2 en lecture</a:t>
            </a:r>
            <a:r>
              <a:rPr lang="fr-FR" sz="2400" b="1" noProof="1">
                <a:solidFill>
                  <a:srgbClr val="106585"/>
                </a:solidFill>
                <a:latin typeface="Dosis" pitchFamily="2" charset="0"/>
              </a:rPr>
              <a:t>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lire des mots avec des syllabes simples) ainsi que l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niveau A1.1  à l’oral et à l’écrit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capacités élémentaires en compréhension et en production).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L’année est organisée e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5 périodes </a:t>
            </a:r>
            <a:r>
              <a:rPr lang="fr-FR" sz="2400" noProof="1">
                <a:solidFill>
                  <a:srgbClr val="215968"/>
                </a:solidFill>
                <a:latin typeface="Dosis" pitchFamily="2" charset="0"/>
              </a:rPr>
              <a:t>de 6 semaines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cune. Les 5 premières semaines de la période sont consacrées à l’étude d’un thème, tandis que la sixième semaine est réservée au rebrassage et à l’évaluation des apprentissages de la période.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que semaine comprend une liste de mots d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vocabulair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, u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dialogu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, la découverte d’u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graphèm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 et des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points de langue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structures syntaxiques, conjugaison, etc.).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que séance comprend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2 activités principales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et s’ouvre par des rituels. </a:t>
            </a:r>
            <a:endParaRPr lang="fr-FR" sz="2100" noProof="1">
              <a:solidFill>
                <a:prstClr val="black">
                  <a:lumMod val="85000"/>
                  <a:lumOff val="15000"/>
                </a:prstClr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08437462-F7F5-AE53-D834-01EDCFD32DC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831317" y="4821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Pour l’enseigna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5FB32DC9-3DD7-DDE8-5057-C00C962270D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686382" y="6703496"/>
            <a:ext cx="12256725" cy="2071133"/>
            <a:chOff x="457588" y="4537445"/>
            <a:chExt cx="8171150" cy="1380755"/>
          </a:xfrm>
        </p:grpSpPr>
        <p:sp>
          <p:nvSpPr>
            <p:cNvPr id="13" name="Rectangle : coins arrondis 12">
              <a:extLst>
                <a:ext uri="{FF2B5EF4-FFF2-40B4-BE49-F238E27FC236}">
                  <a16:creationId xmlns:a16="http://schemas.microsoft.com/office/drawing/2014/main" id="{6449314D-753C-6389-7F12-91793FC4DFA6}"/>
                </a:ext>
              </a:extLst>
            </p:cNvPr>
            <p:cNvSpPr/>
            <p:nvPr/>
          </p:nvSpPr>
          <p:spPr>
            <a:xfrm>
              <a:off x="457588" y="4537445"/>
              <a:ext cx="8160533" cy="1380755"/>
            </a:xfrm>
            <a:prstGeom prst="roundRect">
              <a:avLst/>
            </a:prstGeom>
            <a:solidFill>
              <a:srgbClr val="FFFFCC"/>
            </a:solidFill>
            <a:ln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5">
                <a:defRPr/>
              </a:pPr>
              <a:endParaRPr lang="fr-FR" sz="18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" name="TextBox 10">
              <a:extLst>
                <a:ext uri="{FF2B5EF4-FFF2-40B4-BE49-F238E27FC236}">
                  <a16:creationId xmlns:a16="http://schemas.microsoft.com/office/drawing/2014/main" id="{B20CFC84-9C14-5078-FD01-23AF13E02E32}"/>
                </a:ext>
              </a:extLst>
            </p:cNvPr>
            <p:cNvSpPr txBox="1"/>
            <p:nvPr/>
          </p:nvSpPr>
          <p:spPr>
            <a:xfrm>
              <a:off x="537925" y="4699000"/>
              <a:ext cx="4034075" cy="1058446"/>
            </a:xfrm>
            <a:prstGeom prst="round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1  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Je me présente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2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classe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3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famille et ma maison</a:t>
              </a:r>
              <a:endParaRPr lang="fr-FR" sz="2100" b="1" dirty="0">
                <a:solidFill>
                  <a:srgbClr val="106585"/>
                </a:solidFill>
                <a:latin typeface="Dosis" pitchFamily="2" charset="0"/>
              </a:endParaRP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47CEF19C-EABA-3900-4506-32DB619CEF11}"/>
                </a:ext>
              </a:extLst>
            </p:cNvPr>
            <p:cNvSpPr txBox="1"/>
            <p:nvPr/>
          </p:nvSpPr>
          <p:spPr>
            <a:xfrm>
              <a:off x="4340662" y="4710249"/>
              <a:ext cx="4288076" cy="6591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4 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on corps et mon alimentation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5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journé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71496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3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5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6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7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8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9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1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0000"/>
        </a:solidFill>
        <a:ln>
          <a:solidFill>
            <a:srgbClr val="C00000"/>
          </a:solidFill>
        </a:ln>
      </a:spPr>
      <a:bodyPr rtlCol="0" anchor="ctr"/>
      <a:lstStyle>
        <a:defPPr algn="ctr">
          <a:defRPr b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83</TotalTime>
  <Words>1723</Words>
  <PresentationFormat>Personnalisé</PresentationFormat>
  <Paragraphs>336</Paragraphs>
  <Slides>61</Slides>
  <Notes>1</Notes>
  <HiddenSlides>0</HiddenSlides>
  <MMClips>3</MMClips>
  <ScaleCrop>false</ScaleCrop>
  <HeadingPairs>
    <vt:vector size="8" baseType="variant">
      <vt:variant>
        <vt:lpstr>Polices utilisées</vt:lpstr>
      </vt:variant>
      <vt:variant>
        <vt:i4>11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1</vt:i4>
      </vt:variant>
    </vt:vector>
  </HeadingPairs>
  <TitlesOfParts>
    <vt:vector size="77" baseType="lpstr">
      <vt:lpstr>Carelia</vt:lpstr>
      <vt:lpstr>Montserrat</vt:lpstr>
      <vt:lpstr>Dosis</vt:lpstr>
      <vt:lpstr>Helvetica Neue Light</vt:lpstr>
      <vt:lpstr>Calibri</vt:lpstr>
      <vt:lpstr>Traditional Arabic</vt:lpstr>
      <vt:lpstr>Calibri </vt:lpstr>
      <vt:lpstr>Dosis Bold</vt:lpstr>
      <vt:lpstr>Arial</vt:lpstr>
      <vt:lpstr>Cambria</vt:lpstr>
      <vt:lpstr>KG Primary Penmanship Alt</vt:lpstr>
      <vt:lpstr>1_Office Theme</vt:lpstr>
      <vt:lpstr>Office Theme</vt:lpstr>
      <vt:lpstr>2_Office Theme</vt:lpstr>
      <vt:lpstr>2_Simple Light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3-09-22T04:26:48Z</dcterms:created>
  <dcterms:modified xsi:type="dcterms:W3CDTF">2025-07-13T14:16:27Z</dcterms:modified>
</cp:coreProperties>
</file>